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9.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0.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1.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2.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23.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24.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25.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21"/>
    <p:sldMasterId id="2147483794" r:id="rId22"/>
    <p:sldMasterId id="2147483843" r:id="rId23"/>
  </p:sldMasterIdLst>
  <p:notesMasterIdLst>
    <p:notesMasterId r:id="rId52"/>
  </p:notesMasterIdLst>
  <p:sldIdLst>
    <p:sldId id="372" r:id="rId24"/>
    <p:sldId id="373" r:id="rId25"/>
    <p:sldId id="278" r:id="rId26"/>
    <p:sldId id="462" r:id="rId27"/>
    <p:sldId id="445" r:id="rId28"/>
    <p:sldId id="2145705854" r:id="rId29"/>
    <p:sldId id="450" r:id="rId30"/>
    <p:sldId id="463" r:id="rId31"/>
    <p:sldId id="469" r:id="rId32"/>
    <p:sldId id="470" r:id="rId33"/>
    <p:sldId id="471" r:id="rId34"/>
    <p:sldId id="472" r:id="rId35"/>
    <p:sldId id="473" r:id="rId36"/>
    <p:sldId id="474" r:id="rId37"/>
    <p:sldId id="461" r:id="rId38"/>
    <p:sldId id="476" r:id="rId39"/>
    <p:sldId id="475" r:id="rId40"/>
    <p:sldId id="452" r:id="rId41"/>
    <p:sldId id="453" r:id="rId42"/>
    <p:sldId id="454" r:id="rId43"/>
    <p:sldId id="477" r:id="rId44"/>
    <p:sldId id="456" r:id="rId45"/>
    <p:sldId id="460" r:id="rId46"/>
    <p:sldId id="457" r:id="rId47"/>
    <p:sldId id="458" r:id="rId48"/>
    <p:sldId id="459" r:id="rId49"/>
    <p:sldId id="447" r:id="rId50"/>
    <p:sldId id="441" r:id="rId51"/>
  </p:sldIdLst>
  <p:sldSz cx="12192000" cy="6858000"/>
  <p:notesSz cx="6858000" cy="9144000"/>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7139EE-EDB1-4D6B-8685-27BB564BC9F3}">
          <p14:sldIdLst>
            <p14:sldId id="372"/>
            <p14:sldId id="373"/>
            <p14:sldId id="278"/>
          </p14:sldIdLst>
        </p14:section>
        <p14:section name="Overview ELT" id="{C4A581C7-C824-4CA0-A0CE-ADDB7B7F8986}">
          <p14:sldIdLst>
            <p14:sldId id="462"/>
            <p14:sldId id="445"/>
            <p14:sldId id="2145705854"/>
            <p14:sldId id="450"/>
            <p14:sldId id="463"/>
            <p14:sldId id="469"/>
            <p14:sldId id="470"/>
            <p14:sldId id="471"/>
            <p14:sldId id="472"/>
            <p14:sldId id="473"/>
            <p14:sldId id="474"/>
          </p14:sldIdLst>
        </p14:section>
        <p14:section name="Best Practices" id="{259CFEBA-5E60-4A1F-801A-C445040AA84B}">
          <p14:sldIdLst>
            <p14:sldId id="461"/>
            <p14:sldId id="476"/>
            <p14:sldId id="475"/>
            <p14:sldId id="452"/>
            <p14:sldId id="453"/>
            <p14:sldId id="454"/>
            <p14:sldId id="477"/>
            <p14:sldId id="456"/>
            <p14:sldId id="460"/>
            <p14:sldId id="457"/>
            <p14:sldId id="458"/>
            <p14:sldId id="459"/>
            <p14:sldId id="447"/>
            <p14:sldId id="44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28C2043-F801-4769-97E5-09BABD7EBCB0}" v="1" dt="2021-08-06T00:10:20.1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92" autoAdjust="0"/>
    <p:restoredTop sz="95020" autoAdjust="0"/>
  </p:normalViewPr>
  <p:slideViewPr>
    <p:cSldViewPr snapToGrid="0">
      <p:cViewPr varScale="1">
        <p:scale>
          <a:sx n="63" d="100"/>
          <a:sy n="63" d="100"/>
        </p:scale>
        <p:origin x="38" y="38"/>
      </p:cViewPr>
      <p:guideLst/>
    </p:cSldViewPr>
  </p:slideViewPr>
  <p:outlineViewPr>
    <p:cViewPr>
      <p:scale>
        <a:sx n="33" d="100"/>
        <a:sy n="33" d="100"/>
      </p:scale>
      <p:origin x="0" y="-1188"/>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3.xml"/><Relationship Id="rId39" Type="http://schemas.openxmlformats.org/officeDocument/2006/relationships/slide" Target="slides/slide16.xml"/><Relationship Id="rId21" Type="http://schemas.openxmlformats.org/officeDocument/2006/relationships/slideMaster" Target="slideMasters/slideMaster1.xml"/><Relationship Id="rId34" Type="http://schemas.openxmlformats.org/officeDocument/2006/relationships/slide" Target="slides/slide11.xml"/><Relationship Id="rId42" Type="http://schemas.openxmlformats.org/officeDocument/2006/relationships/slide" Target="slides/slide19.xml"/><Relationship Id="rId47" Type="http://schemas.openxmlformats.org/officeDocument/2006/relationships/slide" Target="slides/slide24.xml"/><Relationship Id="rId50" Type="http://schemas.openxmlformats.org/officeDocument/2006/relationships/slide" Target="slides/slide27.xml"/><Relationship Id="rId55" Type="http://schemas.openxmlformats.org/officeDocument/2006/relationships/viewProps" Target="view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6.xml"/><Relationship Id="rId11" Type="http://schemas.openxmlformats.org/officeDocument/2006/relationships/customXml" Target="../customXml/item11.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slide" Target="slides/slide17.xml"/><Relationship Id="rId45" Type="http://schemas.openxmlformats.org/officeDocument/2006/relationships/slide" Target="slides/slide22.xml"/><Relationship Id="rId53" Type="http://schemas.openxmlformats.org/officeDocument/2006/relationships/tags" Target="tags/tag1.xml"/><Relationship Id="rId58" Type="http://schemas.microsoft.com/office/2016/11/relationships/changesInfo" Target="changesInfos/changesInfo1.xml"/><Relationship Id="rId5" Type="http://schemas.openxmlformats.org/officeDocument/2006/relationships/customXml" Target="../customXml/item5.xml"/><Relationship Id="rId19" Type="http://schemas.openxmlformats.org/officeDocument/2006/relationships/customXml" Target="../customXml/item19.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Master" Target="slideMasters/slideMaster2.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slide" Target="slides/slide20.xml"/><Relationship Id="rId48" Type="http://schemas.openxmlformats.org/officeDocument/2006/relationships/slide" Target="slides/slide25.xml"/><Relationship Id="rId56"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slide" Target="slides/slide28.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slide" Target="slides/slide23.xml"/><Relationship Id="rId59" Type="http://schemas.microsoft.com/office/2015/10/relationships/revisionInfo" Target="revisionInfo.xml"/><Relationship Id="rId20" Type="http://schemas.openxmlformats.org/officeDocument/2006/relationships/customXml" Target="../customXml/item20.xml"/><Relationship Id="rId41" Type="http://schemas.openxmlformats.org/officeDocument/2006/relationships/slide" Target="slides/slide18.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Master" Target="slideMasters/slideMaster3.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slide" Target="slides/slide26.xml"/><Relationship Id="rId57" Type="http://schemas.openxmlformats.org/officeDocument/2006/relationships/tableStyles" Target="tableStyles.xml"/><Relationship Id="rId10" Type="http://schemas.openxmlformats.org/officeDocument/2006/relationships/customXml" Target="../customXml/item10.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olas Soukoff" userId="21d930ff-8613-4aee-bfc8-658aaa7e309c" providerId="ADAL" clId="{6735DED7-34C0-4D88-9E83-4E7CD2A42BC3}"/>
    <pc:docChg chg="undo custSel addSld delSld modSld modSection">
      <pc:chgData name="Nicolas Soukoff" userId="21d930ff-8613-4aee-bfc8-658aaa7e309c" providerId="ADAL" clId="{6735DED7-34C0-4D88-9E83-4E7CD2A42BC3}" dt="2020-07-27T19:20:56.948" v="2" actId="33524"/>
      <pc:docMkLst>
        <pc:docMk/>
      </pc:docMkLst>
      <pc:sldChg chg="modNotesTx">
        <pc:chgData name="Nicolas Soukoff" userId="21d930ff-8613-4aee-bfc8-658aaa7e309c" providerId="ADAL" clId="{6735DED7-34C0-4D88-9E83-4E7CD2A42BC3}" dt="2020-07-27T19:20:56.948" v="2" actId="33524"/>
        <pc:sldMkLst>
          <pc:docMk/>
          <pc:sldMk cId="2806168021" sldId="471"/>
        </pc:sldMkLst>
      </pc:sldChg>
      <pc:sldChg chg="new del">
        <pc:chgData name="Nicolas Soukoff" userId="21d930ff-8613-4aee-bfc8-658aaa7e309c" providerId="ADAL" clId="{6735DED7-34C0-4D88-9E83-4E7CD2A42BC3}" dt="2020-07-27T19:20:47.577" v="1" actId="680"/>
        <pc:sldMkLst>
          <pc:docMk/>
          <pc:sldMk cId="1415106454" sldId="476"/>
        </pc:sldMkLst>
      </pc:sldChg>
    </pc:docChg>
  </pc:docChgLst>
  <pc:docChgLst>
    <pc:chgData name="Nick Salch" userId="S::nicksalc@microsoft.com::47ab95ae-ac26-4648-966b-37822820099a" providerId="AD" clId="Web-{83D40984-9DAE-467D-B730-BB065F480DC0}"/>
    <pc:docChg chg="modSld">
      <pc:chgData name="Nick Salch" userId="S::nicksalc@microsoft.com::47ab95ae-ac26-4648-966b-37822820099a" providerId="AD" clId="Web-{83D40984-9DAE-467D-B730-BB065F480DC0}" dt="2020-07-16T22:02:13.113" v="0" actId="1076"/>
      <pc:docMkLst>
        <pc:docMk/>
      </pc:docMkLst>
      <pc:sldChg chg="modSp">
        <pc:chgData name="Nick Salch" userId="S::nicksalc@microsoft.com::47ab95ae-ac26-4648-966b-37822820099a" providerId="AD" clId="Web-{83D40984-9DAE-467D-B730-BB065F480DC0}" dt="2020-07-16T22:02:13.113" v="0" actId="1076"/>
        <pc:sldMkLst>
          <pc:docMk/>
          <pc:sldMk cId="2286132364" sldId="258"/>
        </pc:sldMkLst>
        <pc:spChg chg="mod">
          <ac:chgData name="Nick Salch" userId="S::nicksalc@microsoft.com::47ab95ae-ac26-4648-966b-37822820099a" providerId="AD" clId="Web-{83D40984-9DAE-467D-B730-BB065F480DC0}" dt="2020-07-16T22:02:13.113" v="0" actId="1076"/>
          <ac:spMkLst>
            <pc:docMk/>
            <pc:sldMk cId="2286132364" sldId="258"/>
            <ac:spMk id="3" creationId="{00000000-0000-0000-0000-000000000000}"/>
          </ac:spMkLst>
        </pc:spChg>
      </pc:sldChg>
    </pc:docChg>
  </pc:docChgLst>
  <pc:docChgLst>
    <pc:chgData name="Filipe Moreira" userId="fa9bf1d2-47eb-439d-b2f4-ca03a48a6bbf" providerId="ADAL" clId="{73E20F0B-4CFC-4D3F-B9AF-F751BD023C30}"/>
    <pc:docChg chg="undo custSel mod addSld delSld modSld sldOrd delMainMaster addSection delSection modSection">
      <pc:chgData name="Filipe Moreira" userId="fa9bf1d2-47eb-439d-b2f4-ca03a48a6bbf" providerId="ADAL" clId="{73E20F0B-4CFC-4D3F-B9AF-F751BD023C30}" dt="2020-06-29T09:40:27.423" v="5200" actId="20577"/>
      <pc:docMkLst>
        <pc:docMk/>
      </pc:docMkLst>
      <pc:sldChg chg="modSp mod">
        <pc:chgData name="Filipe Moreira" userId="fa9bf1d2-47eb-439d-b2f4-ca03a48a6bbf" providerId="ADAL" clId="{73E20F0B-4CFC-4D3F-B9AF-F751BD023C30}" dt="2020-06-23T12:39:41.950" v="112" actId="1076"/>
        <pc:sldMkLst>
          <pc:docMk/>
          <pc:sldMk cId="62941591" sldId="256"/>
        </pc:sldMkLst>
        <pc:spChg chg="mod">
          <ac:chgData name="Filipe Moreira" userId="fa9bf1d2-47eb-439d-b2f4-ca03a48a6bbf" providerId="ADAL" clId="{73E20F0B-4CFC-4D3F-B9AF-F751BD023C30}" dt="2020-06-23T12:27:53.719" v="109" actId="20577"/>
          <ac:spMkLst>
            <pc:docMk/>
            <pc:sldMk cId="62941591" sldId="256"/>
            <ac:spMk id="6" creationId="{00000000-0000-0000-0000-000000000000}"/>
          </ac:spMkLst>
        </pc:spChg>
        <pc:spChg chg="mod">
          <ac:chgData name="Filipe Moreira" userId="fa9bf1d2-47eb-439d-b2f4-ca03a48a6bbf" providerId="ADAL" clId="{73E20F0B-4CFC-4D3F-B9AF-F751BD023C30}" dt="2020-06-23T12:39:41.950" v="112" actId="1076"/>
          <ac:spMkLst>
            <pc:docMk/>
            <pc:sldMk cId="62941591" sldId="256"/>
            <ac:spMk id="7" creationId="{D3EAAD9A-76BF-48B0-A6BF-A24D0A8C5A8F}"/>
          </ac:spMkLst>
        </pc:spChg>
        <pc:graphicFrameChg chg="mod modGraphic">
          <ac:chgData name="Filipe Moreira" userId="fa9bf1d2-47eb-439d-b2f4-ca03a48a6bbf" providerId="ADAL" clId="{73E20F0B-4CFC-4D3F-B9AF-F751BD023C30}" dt="2020-06-23T12:39:38.894" v="111" actId="1076"/>
          <ac:graphicFrameMkLst>
            <pc:docMk/>
            <pc:sldMk cId="62941591" sldId="256"/>
            <ac:graphicFrameMk id="132" creationId="{602854A3-B709-4893-A7A7-ECA5177FAE28}"/>
          </ac:graphicFrameMkLst>
        </pc:graphicFrameChg>
      </pc:sldChg>
      <pc:sldChg chg="ord modTransition">
        <pc:chgData name="Filipe Moreira" userId="fa9bf1d2-47eb-439d-b2f4-ca03a48a6bbf" providerId="ADAL" clId="{73E20F0B-4CFC-4D3F-B9AF-F751BD023C30}" dt="2020-06-24T13:48:19.608" v="2096"/>
        <pc:sldMkLst>
          <pc:docMk/>
          <pc:sldMk cId="2286132364" sldId="258"/>
        </pc:sldMkLst>
      </pc:sldChg>
      <pc:sldChg chg="ord modTransition">
        <pc:chgData name="Filipe Moreira" userId="fa9bf1d2-47eb-439d-b2f4-ca03a48a6bbf" providerId="ADAL" clId="{73E20F0B-4CFC-4D3F-B9AF-F751BD023C30}" dt="2020-06-24T13:48:12.053" v="2095"/>
        <pc:sldMkLst>
          <pc:docMk/>
          <pc:sldMk cId="3771720372" sldId="259"/>
        </pc:sldMkLst>
      </pc:sldChg>
      <pc:sldChg chg="del">
        <pc:chgData name="Filipe Moreira" userId="fa9bf1d2-47eb-439d-b2f4-ca03a48a6bbf" providerId="ADAL" clId="{73E20F0B-4CFC-4D3F-B9AF-F751BD023C30}" dt="2020-06-29T09:02:38.070" v="4781" actId="47"/>
        <pc:sldMkLst>
          <pc:docMk/>
          <pc:sldMk cId="3631375335" sldId="260"/>
        </pc:sldMkLst>
      </pc:sldChg>
      <pc:sldChg chg="del">
        <pc:chgData name="Filipe Moreira" userId="fa9bf1d2-47eb-439d-b2f4-ca03a48a6bbf" providerId="ADAL" clId="{73E20F0B-4CFC-4D3F-B9AF-F751BD023C30}" dt="2020-06-29T09:02:38.070" v="4781" actId="47"/>
        <pc:sldMkLst>
          <pc:docMk/>
          <pc:sldMk cId="3642460649" sldId="261"/>
        </pc:sldMkLst>
      </pc:sldChg>
      <pc:sldChg chg="del">
        <pc:chgData name="Filipe Moreira" userId="fa9bf1d2-47eb-439d-b2f4-ca03a48a6bbf" providerId="ADAL" clId="{73E20F0B-4CFC-4D3F-B9AF-F751BD023C30}" dt="2020-06-29T09:02:38.070" v="4781" actId="47"/>
        <pc:sldMkLst>
          <pc:docMk/>
          <pc:sldMk cId="1397566585" sldId="262"/>
        </pc:sldMkLst>
      </pc:sldChg>
      <pc:sldChg chg="del">
        <pc:chgData name="Filipe Moreira" userId="fa9bf1d2-47eb-439d-b2f4-ca03a48a6bbf" providerId="ADAL" clId="{73E20F0B-4CFC-4D3F-B9AF-F751BD023C30}" dt="2020-06-29T09:02:38.070" v="4781" actId="47"/>
        <pc:sldMkLst>
          <pc:docMk/>
          <pc:sldMk cId="45058819" sldId="263"/>
        </pc:sldMkLst>
      </pc:sldChg>
      <pc:sldChg chg="del">
        <pc:chgData name="Filipe Moreira" userId="fa9bf1d2-47eb-439d-b2f4-ca03a48a6bbf" providerId="ADAL" clId="{73E20F0B-4CFC-4D3F-B9AF-F751BD023C30}" dt="2020-06-29T09:02:38.070" v="4781" actId="47"/>
        <pc:sldMkLst>
          <pc:docMk/>
          <pc:sldMk cId="563266699" sldId="266"/>
        </pc:sldMkLst>
      </pc:sldChg>
      <pc:sldChg chg="del">
        <pc:chgData name="Filipe Moreira" userId="fa9bf1d2-47eb-439d-b2f4-ca03a48a6bbf" providerId="ADAL" clId="{73E20F0B-4CFC-4D3F-B9AF-F751BD023C30}" dt="2020-06-29T09:02:38.070" v="4781" actId="47"/>
        <pc:sldMkLst>
          <pc:docMk/>
          <pc:sldMk cId="1059960327" sldId="269"/>
        </pc:sldMkLst>
      </pc:sldChg>
      <pc:sldChg chg="addSp delSp modSp del ord">
        <pc:chgData name="Filipe Moreira" userId="fa9bf1d2-47eb-439d-b2f4-ca03a48a6bbf" providerId="ADAL" clId="{73E20F0B-4CFC-4D3F-B9AF-F751BD023C30}" dt="2020-06-29T09:02:38.070" v="4781" actId="47"/>
        <pc:sldMkLst>
          <pc:docMk/>
          <pc:sldMk cId="1131327606" sldId="270"/>
        </pc:sldMkLst>
        <pc:spChg chg="add del mod">
          <ac:chgData name="Filipe Moreira" userId="fa9bf1d2-47eb-439d-b2f4-ca03a48a6bbf" providerId="ADAL" clId="{73E20F0B-4CFC-4D3F-B9AF-F751BD023C30}" dt="2020-06-23T13:42:59.704" v="123"/>
          <ac:spMkLst>
            <pc:docMk/>
            <pc:sldMk cId="1131327606" sldId="270"/>
            <ac:spMk id="2" creationId="{0A4E8BBA-14C4-4AE5-984A-32839D00A09B}"/>
          </ac:spMkLst>
        </pc:spChg>
        <pc:spChg chg="add del mod">
          <ac:chgData name="Filipe Moreira" userId="fa9bf1d2-47eb-439d-b2f4-ca03a48a6bbf" providerId="ADAL" clId="{73E20F0B-4CFC-4D3F-B9AF-F751BD023C30}" dt="2020-06-23T13:42:58.991" v="122"/>
          <ac:spMkLst>
            <pc:docMk/>
            <pc:sldMk cId="1131327606" sldId="270"/>
            <ac:spMk id="3" creationId="{04411B98-F4FB-4A28-BE01-340D53FDDE9E}"/>
          </ac:spMkLst>
        </pc:spChg>
      </pc:sldChg>
      <pc:sldChg chg="del">
        <pc:chgData name="Filipe Moreira" userId="fa9bf1d2-47eb-439d-b2f4-ca03a48a6bbf" providerId="ADAL" clId="{73E20F0B-4CFC-4D3F-B9AF-F751BD023C30}" dt="2020-06-29T09:02:38.070" v="4781" actId="47"/>
        <pc:sldMkLst>
          <pc:docMk/>
          <pc:sldMk cId="1838357464" sldId="271"/>
        </pc:sldMkLst>
      </pc:sldChg>
      <pc:sldChg chg="del">
        <pc:chgData name="Filipe Moreira" userId="fa9bf1d2-47eb-439d-b2f4-ca03a48a6bbf" providerId="ADAL" clId="{73E20F0B-4CFC-4D3F-B9AF-F751BD023C30}" dt="2020-06-29T09:02:38.070" v="4781" actId="47"/>
        <pc:sldMkLst>
          <pc:docMk/>
          <pc:sldMk cId="2980870731" sldId="272"/>
        </pc:sldMkLst>
      </pc:sldChg>
      <pc:sldChg chg="del">
        <pc:chgData name="Filipe Moreira" userId="fa9bf1d2-47eb-439d-b2f4-ca03a48a6bbf" providerId="ADAL" clId="{73E20F0B-4CFC-4D3F-B9AF-F751BD023C30}" dt="2020-06-29T09:02:38.070" v="4781" actId="47"/>
        <pc:sldMkLst>
          <pc:docMk/>
          <pc:sldMk cId="4132161427" sldId="273"/>
        </pc:sldMkLst>
      </pc:sldChg>
      <pc:sldChg chg="del">
        <pc:chgData name="Filipe Moreira" userId="fa9bf1d2-47eb-439d-b2f4-ca03a48a6bbf" providerId="ADAL" clId="{73E20F0B-4CFC-4D3F-B9AF-F751BD023C30}" dt="2020-06-29T09:02:38.070" v="4781" actId="47"/>
        <pc:sldMkLst>
          <pc:docMk/>
          <pc:sldMk cId="2260953147" sldId="274"/>
        </pc:sldMkLst>
      </pc:sldChg>
      <pc:sldChg chg="del">
        <pc:chgData name="Filipe Moreira" userId="fa9bf1d2-47eb-439d-b2f4-ca03a48a6bbf" providerId="ADAL" clId="{73E20F0B-4CFC-4D3F-B9AF-F751BD023C30}" dt="2020-06-29T09:02:38.070" v="4781" actId="47"/>
        <pc:sldMkLst>
          <pc:docMk/>
          <pc:sldMk cId="1753306168" sldId="276"/>
        </pc:sldMkLst>
      </pc:sldChg>
      <pc:sldChg chg="del">
        <pc:chgData name="Filipe Moreira" userId="fa9bf1d2-47eb-439d-b2f4-ca03a48a6bbf" providerId="ADAL" clId="{73E20F0B-4CFC-4D3F-B9AF-F751BD023C30}" dt="2020-06-29T09:05:01.166" v="4788" actId="47"/>
        <pc:sldMkLst>
          <pc:docMk/>
          <pc:sldMk cId="1196121053" sldId="277"/>
        </pc:sldMkLst>
      </pc:sldChg>
      <pc:sldChg chg="modSp mod ord">
        <pc:chgData name="Filipe Moreira" userId="fa9bf1d2-47eb-439d-b2f4-ca03a48a6bbf" providerId="ADAL" clId="{73E20F0B-4CFC-4D3F-B9AF-F751BD023C30}" dt="2020-06-25T06:14:35.578" v="4045" actId="20577"/>
        <pc:sldMkLst>
          <pc:docMk/>
          <pc:sldMk cId="1615560134" sldId="278"/>
        </pc:sldMkLst>
        <pc:spChg chg="mod">
          <ac:chgData name="Filipe Moreira" userId="fa9bf1d2-47eb-439d-b2f4-ca03a48a6bbf" providerId="ADAL" clId="{73E20F0B-4CFC-4D3F-B9AF-F751BD023C30}" dt="2020-06-25T06:14:35.578" v="4045" actId="20577"/>
          <ac:spMkLst>
            <pc:docMk/>
            <pc:sldMk cId="1615560134" sldId="278"/>
            <ac:spMk id="3" creationId="{859B2BAE-A383-4E74-B3CF-9AC64DA11727}"/>
          </ac:spMkLst>
        </pc:spChg>
      </pc:sldChg>
      <pc:sldChg chg="del">
        <pc:chgData name="Filipe Moreira" userId="fa9bf1d2-47eb-439d-b2f4-ca03a48a6bbf" providerId="ADAL" clId="{73E20F0B-4CFC-4D3F-B9AF-F751BD023C30}" dt="2020-06-29T09:02:38.070" v="4781" actId="47"/>
        <pc:sldMkLst>
          <pc:docMk/>
          <pc:sldMk cId="4083746080" sldId="279"/>
        </pc:sldMkLst>
      </pc:sldChg>
      <pc:sldChg chg="del">
        <pc:chgData name="Filipe Moreira" userId="fa9bf1d2-47eb-439d-b2f4-ca03a48a6bbf" providerId="ADAL" clId="{73E20F0B-4CFC-4D3F-B9AF-F751BD023C30}" dt="2020-06-29T09:02:38.070" v="4781" actId="47"/>
        <pc:sldMkLst>
          <pc:docMk/>
          <pc:sldMk cId="4267675391" sldId="280"/>
        </pc:sldMkLst>
      </pc:sldChg>
      <pc:sldChg chg="del">
        <pc:chgData name="Filipe Moreira" userId="fa9bf1d2-47eb-439d-b2f4-ca03a48a6bbf" providerId="ADAL" clId="{73E20F0B-4CFC-4D3F-B9AF-F751BD023C30}" dt="2020-06-29T09:02:38.070" v="4781" actId="47"/>
        <pc:sldMkLst>
          <pc:docMk/>
          <pc:sldMk cId="4239965378" sldId="281"/>
        </pc:sldMkLst>
      </pc:sldChg>
      <pc:sldChg chg="del">
        <pc:chgData name="Filipe Moreira" userId="fa9bf1d2-47eb-439d-b2f4-ca03a48a6bbf" providerId="ADAL" clId="{73E20F0B-4CFC-4D3F-B9AF-F751BD023C30}" dt="2020-06-29T09:02:38.070" v="4781" actId="47"/>
        <pc:sldMkLst>
          <pc:docMk/>
          <pc:sldMk cId="2981336413" sldId="282"/>
        </pc:sldMkLst>
      </pc:sldChg>
      <pc:sldChg chg="del">
        <pc:chgData name="Filipe Moreira" userId="fa9bf1d2-47eb-439d-b2f4-ca03a48a6bbf" providerId="ADAL" clId="{73E20F0B-4CFC-4D3F-B9AF-F751BD023C30}" dt="2020-06-29T09:02:38.070" v="4781" actId="47"/>
        <pc:sldMkLst>
          <pc:docMk/>
          <pc:sldMk cId="287339966" sldId="283"/>
        </pc:sldMkLst>
      </pc:sldChg>
      <pc:sldChg chg="del">
        <pc:chgData name="Filipe Moreira" userId="fa9bf1d2-47eb-439d-b2f4-ca03a48a6bbf" providerId="ADAL" clId="{73E20F0B-4CFC-4D3F-B9AF-F751BD023C30}" dt="2020-06-29T09:02:38.070" v="4781" actId="47"/>
        <pc:sldMkLst>
          <pc:docMk/>
          <pc:sldMk cId="1399968532" sldId="284"/>
        </pc:sldMkLst>
      </pc:sldChg>
      <pc:sldChg chg="del">
        <pc:chgData name="Filipe Moreira" userId="fa9bf1d2-47eb-439d-b2f4-ca03a48a6bbf" providerId="ADAL" clId="{73E20F0B-4CFC-4D3F-B9AF-F751BD023C30}" dt="2020-06-29T09:02:38.070" v="4781" actId="47"/>
        <pc:sldMkLst>
          <pc:docMk/>
          <pc:sldMk cId="653830727" sldId="285"/>
        </pc:sldMkLst>
      </pc:sldChg>
      <pc:sldChg chg="del">
        <pc:chgData name="Filipe Moreira" userId="fa9bf1d2-47eb-439d-b2f4-ca03a48a6bbf" providerId="ADAL" clId="{73E20F0B-4CFC-4D3F-B9AF-F751BD023C30}" dt="2020-06-29T09:02:38.070" v="4781" actId="47"/>
        <pc:sldMkLst>
          <pc:docMk/>
          <pc:sldMk cId="2147177822" sldId="286"/>
        </pc:sldMkLst>
      </pc:sldChg>
      <pc:sldChg chg="del">
        <pc:chgData name="Filipe Moreira" userId="fa9bf1d2-47eb-439d-b2f4-ca03a48a6bbf" providerId="ADAL" clId="{73E20F0B-4CFC-4D3F-B9AF-F751BD023C30}" dt="2020-06-29T09:02:38.070" v="4781" actId="47"/>
        <pc:sldMkLst>
          <pc:docMk/>
          <pc:sldMk cId="2238154609" sldId="287"/>
        </pc:sldMkLst>
      </pc:sldChg>
      <pc:sldChg chg="del">
        <pc:chgData name="Filipe Moreira" userId="fa9bf1d2-47eb-439d-b2f4-ca03a48a6bbf" providerId="ADAL" clId="{73E20F0B-4CFC-4D3F-B9AF-F751BD023C30}" dt="2020-06-29T09:02:38.070" v="4781" actId="47"/>
        <pc:sldMkLst>
          <pc:docMk/>
          <pc:sldMk cId="4221783869" sldId="288"/>
        </pc:sldMkLst>
      </pc:sldChg>
      <pc:sldChg chg="del">
        <pc:chgData name="Filipe Moreira" userId="fa9bf1d2-47eb-439d-b2f4-ca03a48a6bbf" providerId="ADAL" clId="{73E20F0B-4CFC-4D3F-B9AF-F751BD023C30}" dt="2020-06-29T09:02:38.070" v="4781" actId="47"/>
        <pc:sldMkLst>
          <pc:docMk/>
          <pc:sldMk cId="72948517" sldId="289"/>
        </pc:sldMkLst>
      </pc:sldChg>
      <pc:sldChg chg="del">
        <pc:chgData name="Filipe Moreira" userId="fa9bf1d2-47eb-439d-b2f4-ca03a48a6bbf" providerId="ADAL" clId="{73E20F0B-4CFC-4D3F-B9AF-F751BD023C30}" dt="2020-06-29T09:02:38.070" v="4781" actId="47"/>
        <pc:sldMkLst>
          <pc:docMk/>
          <pc:sldMk cId="1951336761" sldId="290"/>
        </pc:sldMkLst>
      </pc:sldChg>
      <pc:sldChg chg="del">
        <pc:chgData name="Filipe Moreira" userId="fa9bf1d2-47eb-439d-b2f4-ca03a48a6bbf" providerId="ADAL" clId="{73E20F0B-4CFC-4D3F-B9AF-F751BD023C30}" dt="2020-06-29T09:02:38.070" v="4781" actId="47"/>
        <pc:sldMkLst>
          <pc:docMk/>
          <pc:sldMk cId="4248838292" sldId="291"/>
        </pc:sldMkLst>
      </pc:sldChg>
      <pc:sldChg chg="del">
        <pc:chgData name="Filipe Moreira" userId="fa9bf1d2-47eb-439d-b2f4-ca03a48a6bbf" providerId="ADAL" clId="{73E20F0B-4CFC-4D3F-B9AF-F751BD023C30}" dt="2020-06-29T09:02:38.070" v="4781" actId="47"/>
        <pc:sldMkLst>
          <pc:docMk/>
          <pc:sldMk cId="784210373" sldId="292"/>
        </pc:sldMkLst>
      </pc:sldChg>
      <pc:sldChg chg="del">
        <pc:chgData name="Filipe Moreira" userId="fa9bf1d2-47eb-439d-b2f4-ca03a48a6bbf" providerId="ADAL" clId="{73E20F0B-4CFC-4D3F-B9AF-F751BD023C30}" dt="2020-06-29T09:02:38.070" v="4781" actId="47"/>
        <pc:sldMkLst>
          <pc:docMk/>
          <pc:sldMk cId="2688589389" sldId="293"/>
        </pc:sldMkLst>
      </pc:sldChg>
      <pc:sldChg chg="del">
        <pc:chgData name="Filipe Moreira" userId="fa9bf1d2-47eb-439d-b2f4-ca03a48a6bbf" providerId="ADAL" clId="{73E20F0B-4CFC-4D3F-B9AF-F751BD023C30}" dt="2020-06-29T09:02:38.070" v="4781" actId="47"/>
        <pc:sldMkLst>
          <pc:docMk/>
          <pc:sldMk cId="3848816320" sldId="294"/>
        </pc:sldMkLst>
      </pc:sldChg>
      <pc:sldChg chg="del">
        <pc:chgData name="Filipe Moreira" userId="fa9bf1d2-47eb-439d-b2f4-ca03a48a6bbf" providerId="ADAL" clId="{73E20F0B-4CFC-4D3F-B9AF-F751BD023C30}" dt="2020-06-29T09:02:38.070" v="4781" actId="47"/>
        <pc:sldMkLst>
          <pc:docMk/>
          <pc:sldMk cId="382829276" sldId="295"/>
        </pc:sldMkLst>
      </pc:sldChg>
      <pc:sldChg chg="del">
        <pc:chgData name="Filipe Moreira" userId="fa9bf1d2-47eb-439d-b2f4-ca03a48a6bbf" providerId="ADAL" clId="{73E20F0B-4CFC-4D3F-B9AF-F751BD023C30}" dt="2020-06-29T09:02:38.070" v="4781" actId="47"/>
        <pc:sldMkLst>
          <pc:docMk/>
          <pc:sldMk cId="3652670923" sldId="296"/>
        </pc:sldMkLst>
      </pc:sldChg>
      <pc:sldChg chg="del">
        <pc:chgData name="Filipe Moreira" userId="fa9bf1d2-47eb-439d-b2f4-ca03a48a6bbf" providerId="ADAL" clId="{73E20F0B-4CFC-4D3F-B9AF-F751BD023C30}" dt="2020-06-29T09:02:38.070" v="4781" actId="47"/>
        <pc:sldMkLst>
          <pc:docMk/>
          <pc:sldMk cId="2375114404" sldId="297"/>
        </pc:sldMkLst>
      </pc:sldChg>
      <pc:sldChg chg="del">
        <pc:chgData name="Filipe Moreira" userId="fa9bf1d2-47eb-439d-b2f4-ca03a48a6bbf" providerId="ADAL" clId="{73E20F0B-4CFC-4D3F-B9AF-F751BD023C30}" dt="2020-06-29T09:02:38.070" v="4781" actId="47"/>
        <pc:sldMkLst>
          <pc:docMk/>
          <pc:sldMk cId="1207673946" sldId="298"/>
        </pc:sldMkLst>
      </pc:sldChg>
      <pc:sldChg chg="del">
        <pc:chgData name="Filipe Moreira" userId="fa9bf1d2-47eb-439d-b2f4-ca03a48a6bbf" providerId="ADAL" clId="{73E20F0B-4CFC-4D3F-B9AF-F751BD023C30}" dt="2020-06-29T09:02:38.070" v="4781" actId="47"/>
        <pc:sldMkLst>
          <pc:docMk/>
          <pc:sldMk cId="1777201686" sldId="299"/>
        </pc:sldMkLst>
      </pc:sldChg>
      <pc:sldChg chg="del">
        <pc:chgData name="Filipe Moreira" userId="fa9bf1d2-47eb-439d-b2f4-ca03a48a6bbf" providerId="ADAL" clId="{73E20F0B-4CFC-4D3F-B9AF-F751BD023C30}" dt="2020-06-29T09:02:38.070" v="4781" actId="47"/>
        <pc:sldMkLst>
          <pc:docMk/>
          <pc:sldMk cId="2087472803" sldId="300"/>
        </pc:sldMkLst>
      </pc:sldChg>
      <pc:sldChg chg="del">
        <pc:chgData name="Filipe Moreira" userId="fa9bf1d2-47eb-439d-b2f4-ca03a48a6bbf" providerId="ADAL" clId="{73E20F0B-4CFC-4D3F-B9AF-F751BD023C30}" dt="2020-06-29T09:02:38.070" v="4781" actId="47"/>
        <pc:sldMkLst>
          <pc:docMk/>
          <pc:sldMk cId="2580824943" sldId="301"/>
        </pc:sldMkLst>
      </pc:sldChg>
      <pc:sldChg chg="del">
        <pc:chgData name="Filipe Moreira" userId="fa9bf1d2-47eb-439d-b2f4-ca03a48a6bbf" providerId="ADAL" clId="{73E20F0B-4CFC-4D3F-B9AF-F751BD023C30}" dt="2020-06-29T09:02:38.070" v="4781" actId="47"/>
        <pc:sldMkLst>
          <pc:docMk/>
          <pc:sldMk cId="2351973906" sldId="302"/>
        </pc:sldMkLst>
      </pc:sldChg>
      <pc:sldChg chg="del">
        <pc:chgData name="Filipe Moreira" userId="fa9bf1d2-47eb-439d-b2f4-ca03a48a6bbf" providerId="ADAL" clId="{73E20F0B-4CFC-4D3F-B9AF-F751BD023C30}" dt="2020-06-29T09:02:38.070" v="4781" actId="47"/>
        <pc:sldMkLst>
          <pc:docMk/>
          <pc:sldMk cId="3194820150" sldId="303"/>
        </pc:sldMkLst>
      </pc:sldChg>
      <pc:sldChg chg="del">
        <pc:chgData name="Filipe Moreira" userId="fa9bf1d2-47eb-439d-b2f4-ca03a48a6bbf" providerId="ADAL" clId="{73E20F0B-4CFC-4D3F-B9AF-F751BD023C30}" dt="2020-06-29T09:02:38.070" v="4781" actId="47"/>
        <pc:sldMkLst>
          <pc:docMk/>
          <pc:sldMk cId="3280269677" sldId="304"/>
        </pc:sldMkLst>
      </pc:sldChg>
      <pc:sldChg chg="del">
        <pc:chgData name="Filipe Moreira" userId="fa9bf1d2-47eb-439d-b2f4-ca03a48a6bbf" providerId="ADAL" clId="{73E20F0B-4CFC-4D3F-B9AF-F751BD023C30}" dt="2020-06-29T09:02:38.070" v="4781" actId="47"/>
        <pc:sldMkLst>
          <pc:docMk/>
          <pc:sldMk cId="3740885491" sldId="305"/>
        </pc:sldMkLst>
      </pc:sldChg>
      <pc:sldChg chg="modSp add ord modAnim modNotesTx">
        <pc:chgData name="Filipe Moreira" userId="fa9bf1d2-47eb-439d-b2f4-ca03a48a6bbf" providerId="ADAL" clId="{73E20F0B-4CFC-4D3F-B9AF-F751BD023C30}" dt="2020-06-29T09:40:27.423" v="5200" actId="20577"/>
        <pc:sldMkLst>
          <pc:docMk/>
          <pc:sldMk cId="2363326605" sldId="425"/>
        </pc:sldMkLst>
        <pc:spChg chg="mod">
          <ac:chgData name="Filipe Moreira" userId="fa9bf1d2-47eb-439d-b2f4-ca03a48a6bbf" providerId="ADAL" clId="{73E20F0B-4CFC-4D3F-B9AF-F751BD023C30}" dt="2020-06-29T09:32:23.288" v="4961" actId="20577"/>
          <ac:spMkLst>
            <pc:docMk/>
            <pc:sldMk cId="2363326605" sldId="425"/>
            <ac:spMk id="5" creationId="{9EC51BFF-B5E3-486E-BBA5-CBFEB61D4D30}"/>
          </ac:spMkLst>
        </pc:spChg>
      </pc:sldChg>
      <pc:sldChg chg="add ord">
        <pc:chgData name="Filipe Moreira" userId="fa9bf1d2-47eb-439d-b2f4-ca03a48a6bbf" providerId="ADAL" clId="{73E20F0B-4CFC-4D3F-B9AF-F751BD023C30}" dt="2020-06-29T09:02:43.604" v="4784"/>
        <pc:sldMkLst>
          <pc:docMk/>
          <pc:sldMk cId="1491656813" sldId="441"/>
        </pc:sldMkLst>
      </pc:sldChg>
      <pc:sldChg chg="addSp delSp modSp add del mod ord modClrScheme chgLayout">
        <pc:chgData name="Filipe Moreira" userId="fa9bf1d2-47eb-439d-b2f4-ca03a48a6bbf" providerId="ADAL" clId="{73E20F0B-4CFC-4D3F-B9AF-F751BD023C30}" dt="2020-06-29T09:02:38.070" v="4781" actId="47"/>
        <pc:sldMkLst>
          <pc:docMk/>
          <pc:sldMk cId="628828144" sldId="442"/>
        </pc:sldMkLst>
        <pc:spChg chg="mod">
          <ac:chgData name="Filipe Moreira" userId="fa9bf1d2-47eb-439d-b2f4-ca03a48a6bbf" providerId="ADAL" clId="{73E20F0B-4CFC-4D3F-B9AF-F751BD023C30}" dt="2020-06-23T13:48:49.184" v="178" actId="20577"/>
          <ac:spMkLst>
            <pc:docMk/>
            <pc:sldMk cId="628828144" sldId="442"/>
            <ac:spMk id="4" creationId="{5D85DF47-300F-4085-B774-DDE734B96F99}"/>
          </ac:spMkLst>
        </pc:spChg>
        <pc:spChg chg="mod">
          <ac:chgData name="Filipe Moreira" userId="fa9bf1d2-47eb-439d-b2f4-ca03a48a6bbf" providerId="ADAL" clId="{73E20F0B-4CFC-4D3F-B9AF-F751BD023C30}" dt="2020-06-23T13:45:09.722" v="152" actId="26606"/>
          <ac:spMkLst>
            <pc:docMk/>
            <pc:sldMk cId="628828144" sldId="442"/>
            <ac:spMk id="5" creationId="{806AE5AE-CAF0-4BF4-872E-C97AF8874A6F}"/>
          </ac:spMkLst>
        </pc:spChg>
        <pc:spChg chg="del">
          <ac:chgData name="Filipe Moreira" userId="fa9bf1d2-47eb-439d-b2f4-ca03a48a6bbf" providerId="ADAL" clId="{73E20F0B-4CFC-4D3F-B9AF-F751BD023C30}" dt="2020-06-23T13:44:05.333" v="130"/>
          <ac:spMkLst>
            <pc:docMk/>
            <pc:sldMk cId="628828144" sldId="442"/>
            <ac:spMk id="6" creationId="{0B24CF9C-EA03-4678-8221-3892B00F4889}"/>
          </ac:spMkLst>
        </pc:spChg>
        <pc:picChg chg="add mod">
          <ac:chgData name="Filipe Moreira" userId="fa9bf1d2-47eb-439d-b2f4-ca03a48a6bbf" providerId="ADAL" clId="{73E20F0B-4CFC-4D3F-B9AF-F751BD023C30}" dt="2020-06-23T13:45:09.722" v="152" actId="26606"/>
          <ac:picMkLst>
            <pc:docMk/>
            <pc:sldMk cId="628828144" sldId="442"/>
            <ac:picMk id="7" creationId="{A02BCA77-1AE1-419A-8377-39446FE00863}"/>
          </ac:picMkLst>
        </pc:picChg>
      </pc:sldChg>
      <pc:sldChg chg="modSp new del mod">
        <pc:chgData name="Filipe Moreira" userId="fa9bf1d2-47eb-439d-b2f4-ca03a48a6bbf" providerId="ADAL" clId="{73E20F0B-4CFC-4D3F-B9AF-F751BD023C30}" dt="2020-06-29T09:02:38.070" v="4781" actId="47"/>
        <pc:sldMkLst>
          <pc:docMk/>
          <pc:sldMk cId="567140043" sldId="443"/>
        </pc:sldMkLst>
        <pc:spChg chg="mod">
          <ac:chgData name="Filipe Moreira" userId="fa9bf1d2-47eb-439d-b2f4-ca03a48a6bbf" providerId="ADAL" clId="{73E20F0B-4CFC-4D3F-B9AF-F751BD023C30}" dt="2020-06-23T13:48:33.990" v="155" actId="27636"/>
          <ac:spMkLst>
            <pc:docMk/>
            <pc:sldMk cId="567140043" sldId="443"/>
            <ac:spMk id="3" creationId="{2B8E8420-758B-4E98-9404-1AF5DC27CBEA}"/>
          </ac:spMkLst>
        </pc:spChg>
      </pc:sldChg>
      <pc:sldChg chg="modSp add del mod setBg">
        <pc:chgData name="Filipe Moreira" userId="fa9bf1d2-47eb-439d-b2f4-ca03a48a6bbf" providerId="ADAL" clId="{73E20F0B-4CFC-4D3F-B9AF-F751BD023C30}" dt="2020-06-29T09:02:38.070" v="4781" actId="47"/>
        <pc:sldMkLst>
          <pc:docMk/>
          <pc:sldMk cId="3798101188" sldId="444"/>
        </pc:sldMkLst>
        <pc:spChg chg="mod">
          <ac:chgData name="Filipe Moreira" userId="fa9bf1d2-47eb-439d-b2f4-ca03a48a6bbf" providerId="ADAL" clId="{73E20F0B-4CFC-4D3F-B9AF-F751BD023C30}" dt="2020-06-23T14:06:13.240" v="264" actId="20577"/>
          <ac:spMkLst>
            <pc:docMk/>
            <pc:sldMk cId="3798101188" sldId="444"/>
            <ac:spMk id="2" creationId="{EB67312A-9819-43C6-8D84-D9136E6CFFCC}"/>
          </ac:spMkLst>
        </pc:spChg>
        <pc:graphicFrameChg chg="add mod">
          <ac:chgData name="Filipe Moreira" userId="fa9bf1d2-47eb-439d-b2f4-ca03a48a6bbf" providerId="ADAL" clId="{73E20F0B-4CFC-4D3F-B9AF-F751BD023C30}" dt="2020-06-23T14:05:22.265" v="263" actId="20577"/>
          <ac:graphicFrameMkLst>
            <pc:docMk/>
            <pc:sldMk cId="3798101188" sldId="444"/>
            <ac:graphicFrameMk id="6" creationId="{1B7981BD-EB10-4F98-B9EC-DE2E06952636}"/>
          </ac:graphicFrameMkLst>
        </pc:graphicFrameChg>
      </pc:sldChg>
      <pc:sldChg chg="addSp delSp modSp add del mod">
        <pc:chgData name="Filipe Moreira" userId="fa9bf1d2-47eb-439d-b2f4-ca03a48a6bbf" providerId="ADAL" clId="{73E20F0B-4CFC-4D3F-B9AF-F751BD023C30}" dt="2020-06-29T09:02:38.070" v="4781" actId="47"/>
        <pc:sldMkLst>
          <pc:docMk/>
          <pc:sldMk cId="332188181" sldId="445"/>
        </pc:sldMkLst>
        <pc:spChg chg="mod">
          <ac:chgData name="Filipe Moreira" userId="fa9bf1d2-47eb-439d-b2f4-ca03a48a6bbf" providerId="ADAL" clId="{73E20F0B-4CFC-4D3F-B9AF-F751BD023C30}" dt="2020-06-23T14:07:44.394" v="284" actId="20577"/>
          <ac:spMkLst>
            <pc:docMk/>
            <pc:sldMk cId="332188181" sldId="445"/>
            <ac:spMk id="2" creationId="{BC57B38C-8413-4861-A4F5-7DF656AEAD0D}"/>
          </ac:spMkLst>
        </pc:spChg>
        <pc:spChg chg="mod">
          <ac:chgData name="Filipe Moreira" userId="fa9bf1d2-47eb-439d-b2f4-ca03a48a6bbf" providerId="ADAL" clId="{73E20F0B-4CFC-4D3F-B9AF-F751BD023C30}" dt="2020-06-23T14:07:47.569" v="285" actId="20577"/>
          <ac:spMkLst>
            <pc:docMk/>
            <pc:sldMk cId="332188181" sldId="445"/>
            <ac:spMk id="3" creationId="{4897B8F8-26DF-42FB-ACB0-59929F1C2344}"/>
          </ac:spMkLst>
        </pc:spChg>
        <pc:spChg chg="add mod">
          <ac:chgData name="Filipe Moreira" userId="fa9bf1d2-47eb-439d-b2f4-ca03a48a6bbf" providerId="ADAL" clId="{73E20F0B-4CFC-4D3F-B9AF-F751BD023C30}" dt="2020-06-23T14:10:35.915" v="343"/>
          <ac:spMkLst>
            <pc:docMk/>
            <pc:sldMk cId="332188181" sldId="445"/>
            <ac:spMk id="6" creationId="{0B37C826-D840-4D35-907A-0F3CBC4AAF2A}"/>
          </ac:spMkLst>
        </pc:spChg>
        <pc:picChg chg="add del">
          <ac:chgData name="Filipe Moreira" userId="fa9bf1d2-47eb-439d-b2f4-ca03a48a6bbf" providerId="ADAL" clId="{73E20F0B-4CFC-4D3F-B9AF-F751BD023C30}" dt="2020-06-23T14:10:57.216" v="345" actId="478"/>
          <ac:picMkLst>
            <pc:docMk/>
            <pc:sldMk cId="332188181" sldId="445"/>
            <ac:picMk id="7" creationId="{76566A92-4C2E-4A75-AC88-04F49267A8C1}"/>
          </ac:picMkLst>
        </pc:picChg>
        <pc:picChg chg="add mod">
          <ac:chgData name="Filipe Moreira" userId="fa9bf1d2-47eb-439d-b2f4-ca03a48a6bbf" providerId="ADAL" clId="{73E20F0B-4CFC-4D3F-B9AF-F751BD023C30}" dt="2020-06-23T14:11:13.301" v="350" actId="1076"/>
          <ac:picMkLst>
            <pc:docMk/>
            <pc:sldMk cId="332188181" sldId="445"/>
            <ac:picMk id="8" creationId="{F4F4DD0F-FDFD-436D-8BE5-61DD15FBEE3B}"/>
          </ac:picMkLst>
        </pc:picChg>
      </pc:sldChg>
      <pc:sldChg chg="modSp add del mod">
        <pc:chgData name="Filipe Moreira" userId="fa9bf1d2-47eb-439d-b2f4-ca03a48a6bbf" providerId="ADAL" clId="{73E20F0B-4CFC-4D3F-B9AF-F751BD023C30}" dt="2020-06-29T09:02:38.070" v="4781" actId="47"/>
        <pc:sldMkLst>
          <pc:docMk/>
          <pc:sldMk cId="3687156580" sldId="446"/>
        </pc:sldMkLst>
        <pc:spChg chg="mod">
          <ac:chgData name="Filipe Moreira" userId="fa9bf1d2-47eb-439d-b2f4-ca03a48a6bbf" providerId="ADAL" clId="{73E20F0B-4CFC-4D3F-B9AF-F751BD023C30}" dt="2020-06-23T14:08:06.659" v="304" actId="20577"/>
          <ac:spMkLst>
            <pc:docMk/>
            <pc:sldMk cId="3687156580" sldId="446"/>
            <ac:spMk id="2" creationId="{BC57B38C-8413-4861-A4F5-7DF656AEAD0D}"/>
          </ac:spMkLst>
        </pc:spChg>
      </pc:sldChg>
      <pc:sldChg chg="modSp add del mod">
        <pc:chgData name="Filipe Moreira" userId="fa9bf1d2-47eb-439d-b2f4-ca03a48a6bbf" providerId="ADAL" clId="{73E20F0B-4CFC-4D3F-B9AF-F751BD023C30}" dt="2020-06-29T09:02:38.070" v="4781" actId="47"/>
        <pc:sldMkLst>
          <pc:docMk/>
          <pc:sldMk cId="3045979165" sldId="447"/>
        </pc:sldMkLst>
        <pc:spChg chg="mod">
          <ac:chgData name="Filipe Moreira" userId="fa9bf1d2-47eb-439d-b2f4-ca03a48a6bbf" providerId="ADAL" clId="{73E20F0B-4CFC-4D3F-B9AF-F751BD023C30}" dt="2020-06-23T14:08:17.353" v="310" actId="20577"/>
          <ac:spMkLst>
            <pc:docMk/>
            <pc:sldMk cId="3045979165" sldId="447"/>
            <ac:spMk id="2" creationId="{BC57B38C-8413-4861-A4F5-7DF656AEAD0D}"/>
          </ac:spMkLst>
        </pc:spChg>
      </pc:sldChg>
      <pc:sldChg chg="modSp add del mod">
        <pc:chgData name="Filipe Moreira" userId="fa9bf1d2-47eb-439d-b2f4-ca03a48a6bbf" providerId="ADAL" clId="{73E20F0B-4CFC-4D3F-B9AF-F751BD023C30}" dt="2020-06-29T09:02:38.070" v="4781" actId="47"/>
        <pc:sldMkLst>
          <pc:docMk/>
          <pc:sldMk cId="1591388670" sldId="448"/>
        </pc:sldMkLst>
        <pc:spChg chg="mod">
          <ac:chgData name="Filipe Moreira" userId="fa9bf1d2-47eb-439d-b2f4-ca03a48a6bbf" providerId="ADAL" clId="{73E20F0B-4CFC-4D3F-B9AF-F751BD023C30}" dt="2020-06-23T14:08:29.570" v="333" actId="20577"/>
          <ac:spMkLst>
            <pc:docMk/>
            <pc:sldMk cId="1591388670" sldId="448"/>
            <ac:spMk id="2" creationId="{BC57B38C-8413-4861-A4F5-7DF656AEAD0D}"/>
          </ac:spMkLst>
        </pc:spChg>
      </pc:sldChg>
      <pc:sldChg chg="modSp add del mod">
        <pc:chgData name="Filipe Moreira" userId="fa9bf1d2-47eb-439d-b2f4-ca03a48a6bbf" providerId="ADAL" clId="{73E20F0B-4CFC-4D3F-B9AF-F751BD023C30}" dt="2020-06-29T09:02:38.070" v="4781" actId="47"/>
        <pc:sldMkLst>
          <pc:docMk/>
          <pc:sldMk cId="3495366783" sldId="449"/>
        </pc:sldMkLst>
        <pc:spChg chg="mod">
          <ac:chgData name="Filipe Moreira" userId="fa9bf1d2-47eb-439d-b2f4-ca03a48a6bbf" providerId="ADAL" clId="{73E20F0B-4CFC-4D3F-B9AF-F751BD023C30}" dt="2020-06-23T14:08:41.871" v="339" actId="20577"/>
          <ac:spMkLst>
            <pc:docMk/>
            <pc:sldMk cId="3495366783" sldId="449"/>
            <ac:spMk id="2" creationId="{BC57B38C-8413-4861-A4F5-7DF656AEAD0D}"/>
          </ac:spMkLst>
        </pc:spChg>
      </pc:sldChg>
      <pc:sldChg chg="addSp delSp modSp add mod modNotesTx">
        <pc:chgData name="Filipe Moreira" userId="fa9bf1d2-47eb-439d-b2f4-ca03a48a6bbf" providerId="ADAL" clId="{73E20F0B-4CFC-4D3F-B9AF-F751BD023C30}" dt="2020-06-24T16:17:13.120" v="3640" actId="20577"/>
        <pc:sldMkLst>
          <pc:docMk/>
          <pc:sldMk cId="3488500529" sldId="450"/>
        </pc:sldMkLst>
        <pc:spChg chg="mod">
          <ac:chgData name="Filipe Moreira" userId="fa9bf1d2-47eb-439d-b2f4-ca03a48a6bbf" providerId="ADAL" clId="{73E20F0B-4CFC-4D3F-B9AF-F751BD023C30}" dt="2020-06-24T15:09:22.463" v="3247" actId="20577"/>
          <ac:spMkLst>
            <pc:docMk/>
            <pc:sldMk cId="3488500529" sldId="450"/>
            <ac:spMk id="2" creationId="{EB67312A-9819-43C6-8D84-D9136E6CFFCC}"/>
          </ac:spMkLst>
        </pc:spChg>
        <pc:graphicFrameChg chg="mod modGraphic">
          <ac:chgData name="Filipe Moreira" userId="fa9bf1d2-47eb-439d-b2f4-ca03a48a6bbf" providerId="ADAL" clId="{73E20F0B-4CFC-4D3F-B9AF-F751BD023C30}" dt="2020-06-24T15:28:01.947" v="3581" actId="18131"/>
          <ac:graphicFrameMkLst>
            <pc:docMk/>
            <pc:sldMk cId="3488500529" sldId="450"/>
            <ac:graphicFrameMk id="8" creationId="{F2F3C940-AD7F-4BDC-B54E-5C35FE27C4CC}"/>
          </ac:graphicFrameMkLst>
        </pc:graphicFrameChg>
        <pc:picChg chg="add del mod">
          <ac:chgData name="Filipe Moreira" userId="fa9bf1d2-47eb-439d-b2f4-ca03a48a6bbf" providerId="ADAL" clId="{73E20F0B-4CFC-4D3F-B9AF-F751BD023C30}" dt="2020-06-24T15:25:21.574" v="3441" actId="478"/>
          <ac:picMkLst>
            <pc:docMk/>
            <pc:sldMk cId="3488500529" sldId="450"/>
            <ac:picMk id="4" creationId="{1FE4D01B-A1D1-4300-B3D0-7913617C3678}"/>
          </ac:picMkLst>
        </pc:picChg>
      </pc:sldChg>
      <pc:sldChg chg="addSp delSp modSp add del mod modClrScheme chgLayout modNotesTx">
        <pc:chgData name="Filipe Moreira" userId="fa9bf1d2-47eb-439d-b2f4-ca03a48a6bbf" providerId="ADAL" clId="{73E20F0B-4CFC-4D3F-B9AF-F751BD023C30}" dt="2020-06-29T09:04:15.489" v="4787" actId="47"/>
        <pc:sldMkLst>
          <pc:docMk/>
          <pc:sldMk cId="3996633418" sldId="451"/>
        </pc:sldMkLst>
        <pc:spChg chg="mod">
          <ac:chgData name="Filipe Moreira" userId="fa9bf1d2-47eb-439d-b2f4-ca03a48a6bbf" providerId="ADAL" clId="{73E20F0B-4CFC-4D3F-B9AF-F751BD023C30}" dt="2020-06-23T16:33:08.018" v="808" actId="26606"/>
          <ac:spMkLst>
            <pc:docMk/>
            <pc:sldMk cId="3996633418" sldId="451"/>
            <ac:spMk id="2" creationId="{EB67312A-9819-43C6-8D84-D9136E6CFFCC}"/>
          </ac:spMkLst>
        </pc:spChg>
        <pc:spChg chg="add del mod">
          <ac:chgData name="Filipe Moreira" userId="fa9bf1d2-47eb-439d-b2f4-ca03a48a6bbf" providerId="ADAL" clId="{73E20F0B-4CFC-4D3F-B9AF-F751BD023C30}" dt="2020-06-23T15:57:34.166" v="643" actId="12084"/>
          <ac:spMkLst>
            <pc:docMk/>
            <pc:sldMk cId="3996633418" sldId="451"/>
            <ac:spMk id="4" creationId="{F4C4D5AC-CC3B-49C7-B752-0FF9BAA15FB3}"/>
          </ac:spMkLst>
        </pc:spChg>
        <pc:spChg chg="add del mod">
          <ac:chgData name="Filipe Moreira" userId="fa9bf1d2-47eb-439d-b2f4-ca03a48a6bbf" providerId="ADAL" clId="{73E20F0B-4CFC-4D3F-B9AF-F751BD023C30}" dt="2020-06-23T16:32:59.260" v="806" actId="26606"/>
          <ac:spMkLst>
            <pc:docMk/>
            <pc:sldMk cId="3996633418" sldId="451"/>
            <ac:spMk id="10" creationId="{F3DECA2E-F907-43CF-9B57-32EB42A81AD9}"/>
          </ac:spMkLst>
        </pc:spChg>
        <pc:spChg chg="add del mod">
          <ac:chgData name="Filipe Moreira" userId="fa9bf1d2-47eb-439d-b2f4-ca03a48a6bbf" providerId="ADAL" clId="{73E20F0B-4CFC-4D3F-B9AF-F751BD023C30}" dt="2020-06-23T16:33:08.018" v="808" actId="26606"/>
          <ac:spMkLst>
            <pc:docMk/>
            <pc:sldMk cId="3996633418" sldId="451"/>
            <ac:spMk id="12" creationId="{FC661818-D0FC-4A53-9D56-6448FCBCEC07}"/>
          </ac:spMkLst>
        </pc:spChg>
        <pc:graphicFrameChg chg="add mod modGraphic">
          <ac:chgData name="Filipe Moreira" userId="fa9bf1d2-47eb-439d-b2f4-ca03a48a6bbf" providerId="ADAL" clId="{73E20F0B-4CFC-4D3F-B9AF-F751BD023C30}" dt="2020-06-29T08:21:58.261" v="4618"/>
          <ac:graphicFrameMkLst>
            <pc:docMk/>
            <pc:sldMk cId="3996633418" sldId="451"/>
            <ac:graphicFrameMk id="5" creationId="{0690BB69-E359-4ACB-B0D7-C36798607629}"/>
          </ac:graphicFrameMkLst>
        </pc:graphicFrameChg>
        <pc:graphicFrameChg chg="del mod">
          <ac:chgData name="Filipe Moreira" userId="fa9bf1d2-47eb-439d-b2f4-ca03a48a6bbf" providerId="ADAL" clId="{73E20F0B-4CFC-4D3F-B9AF-F751BD023C30}" dt="2020-06-23T15:55:29.129" v="617" actId="478"/>
          <ac:graphicFrameMkLst>
            <pc:docMk/>
            <pc:sldMk cId="3996633418" sldId="451"/>
            <ac:graphicFrameMk id="8" creationId="{F2F3C940-AD7F-4BDC-B54E-5C35FE27C4CC}"/>
          </ac:graphicFrameMkLst>
        </pc:graphicFrameChg>
      </pc:sldChg>
      <pc:sldChg chg="addSp modSp add mod modClrScheme chgLayout modNotesTx">
        <pc:chgData name="Filipe Moreira" userId="fa9bf1d2-47eb-439d-b2f4-ca03a48a6bbf" providerId="ADAL" clId="{73E20F0B-4CFC-4D3F-B9AF-F751BD023C30}" dt="2020-06-29T08:49:23.194" v="4780"/>
        <pc:sldMkLst>
          <pc:docMk/>
          <pc:sldMk cId="1802536161" sldId="452"/>
        </pc:sldMkLst>
        <pc:spChg chg="mod">
          <ac:chgData name="Filipe Moreira" userId="fa9bf1d2-47eb-439d-b2f4-ca03a48a6bbf" providerId="ADAL" clId="{73E20F0B-4CFC-4D3F-B9AF-F751BD023C30}" dt="2020-06-29T08:23:59.310" v="4630" actId="26606"/>
          <ac:spMkLst>
            <pc:docMk/>
            <pc:sldMk cId="1802536161" sldId="452"/>
            <ac:spMk id="2" creationId="{EB67312A-9819-43C6-8D84-D9136E6CFFCC}"/>
          </ac:spMkLst>
        </pc:spChg>
        <pc:spChg chg="add mod">
          <ac:chgData name="Filipe Moreira" userId="fa9bf1d2-47eb-439d-b2f4-ca03a48a6bbf" providerId="ADAL" clId="{73E20F0B-4CFC-4D3F-B9AF-F751BD023C30}" dt="2020-06-29T08:23:59.310" v="4630" actId="26606"/>
          <ac:spMkLst>
            <pc:docMk/>
            <pc:sldMk cId="1802536161" sldId="452"/>
            <ac:spMk id="10" creationId="{21797365-6A71-454C-9E6C-59E2F5773B25}"/>
          </ac:spMkLst>
        </pc:spChg>
        <pc:graphicFrameChg chg="mod modGraphic">
          <ac:chgData name="Filipe Moreira" userId="fa9bf1d2-47eb-439d-b2f4-ca03a48a6bbf" providerId="ADAL" clId="{73E20F0B-4CFC-4D3F-B9AF-F751BD023C30}" dt="2020-06-29T08:49:23.194" v="4780"/>
          <ac:graphicFrameMkLst>
            <pc:docMk/>
            <pc:sldMk cId="1802536161" sldId="452"/>
            <ac:graphicFrameMk id="5" creationId="{0690BB69-E359-4ACB-B0D7-C36798607629}"/>
          </ac:graphicFrameMkLst>
        </pc:graphicFrameChg>
      </pc:sldChg>
      <pc:sldChg chg="modSp add mod modClrScheme chgLayout modNotesTx">
        <pc:chgData name="Filipe Moreira" userId="fa9bf1d2-47eb-439d-b2f4-ca03a48a6bbf" providerId="ADAL" clId="{73E20F0B-4CFC-4D3F-B9AF-F751BD023C30}" dt="2020-06-29T08:39:46.991" v="4777"/>
        <pc:sldMkLst>
          <pc:docMk/>
          <pc:sldMk cId="988929918" sldId="453"/>
        </pc:sldMkLst>
        <pc:spChg chg="mod">
          <ac:chgData name="Filipe Moreira" userId="fa9bf1d2-47eb-439d-b2f4-ca03a48a6bbf" providerId="ADAL" clId="{73E20F0B-4CFC-4D3F-B9AF-F751BD023C30}" dt="2020-06-29T08:23:45.926" v="4629" actId="26606"/>
          <ac:spMkLst>
            <pc:docMk/>
            <pc:sldMk cId="988929918" sldId="453"/>
            <ac:spMk id="2" creationId="{EB67312A-9819-43C6-8D84-D9136E6CFFCC}"/>
          </ac:spMkLst>
        </pc:spChg>
        <pc:graphicFrameChg chg="mod modGraphic">
          <ac:chgData name="Filipe Moreira" userId="fa9bf1d2-47eb-439d-b2f4-ca03a48a6bbf" providerId="ADAL" clId="{73E20F0B-4CFC-4D3F-B9AF-F751BD023C30}" dt="2020-06-29T08:39:46.991" v="4777"/>
          <ac:graphicFrameMkLst>
            <pc:docMk/>
            <pc:sldMk cId="988929918" sldId="453"/>
            <ac:graphicFrameMk id="5" creationId="{0690BB69-E359-4ACB-B0D7-C36798607629}"/>
          </ac:graphicFrameMkLst>
        </pc:graphicFrameChg>
      </pc:sldChg>
      <pc:sldChg chg="addSp delSp modSp add mod modClrScheme chgLayout modNotesTx">
        <pc:chgData name="Filipe Moreira" userId="fa9bf1d2-47eb-439d-b2f4-ca03a48a6bbf" providerId="ADAL" clId="{73E20F0B-4CFC-4D3F-B9AF-F751BD023C30}" dt="2020-06-29T08:31:42.771" v="4758" actId="26606"/>
        <pc:sldMkLst>
          <pc:docMk/>
          <pc:sldMk cId="3090214467" sldId="454"/>
        </pc:sldMkLst>
        <pc:spChg chg="mod">
          <ac:chgData name="Filipe Moreira" userId="fa9bf1d2-47eb-439d-b2f4-ca03a48a6bbf" providerId="ADAL" clId="{73E20F0B-4CFC-4D3F-B9AF-F751BD023C30}" dt="2020-06-29T08:24:32.876" v="4633" actId="26606"/>
          <ac:spMkLst>
            <pc:docMk/>
            <pc:sldMk cId="3090214467" sldId="454"/>
            <ac:spMk id="2" creationId="{EB67312A-9819-43C6-8D84-D9136E6CFFCC}"/>
          </ac:spMkLst>
        </pc:spChg>
        <pc:spChg chg="add del mod">
          <ac:chgData name="Filipe Moreira" userId="fa9bf1d2-47eb-439d-b2f4-ca03a48a6bbf" providerId="ADAL" clId="{73E20F0B-4CFC-4D3F-B9AF-F751BD023C30}" dt="2020-06-29T08:31:42.771" v="4758" actId="26606"/>
          <ac:spMkLst>
            <pc:docMk/>
            <pc:sldMk cId="3090214467" sldId="454"/>
            <ac:spMk id="10" creationId="{91E7F131-6A64-4CDB-A5A5-2E431B09A29F}"/>
          </ac:spMkLst>
        </pc:spChg>
        <pc:spChg chg="add">
          <ac:chgData name="Filipe Moreira" userId="fa9bf1d2-47eb-439d-b2f4-ca03a48a6bbf" providerId="ADAL" clId="{73E20F0B-4CFC-4D3F-B9AF-F751BD023C30}" dt="2020-06-29T08:31:42.771" v="4758" actId="26606"/>
          <ac:spMkLst>
            <pc:docMk/>
            <pc:sldMk cId="3090214467" sldId="454"/>
            <ac:spMk id="15" creationId="{214D07E4-231E-4D9A-A8B7-76C71D846F23}"/>
          </ac:spMkLst>
        </pc:spChg>
        <pc:graphicFrameChg chg="mod modGraphic">
          <ac:chgData name="Filipe Moreira" userId="fa9bf1d2-47eb-439d-b2f4-ca03a48a6bbf" providerId="ADAL" clId="{73E20F0B-4CFC-4D3F-B9AF-F751BD023C30}" dt="2020-06-29T08:31:42.771" v="4758" actId="26606"/>
          <ac:graphicFrameMkLst>
            <pc:docMk/>
            <pc:sldMk cId="3090214467" sldId="454"/>
            <ac:graphicFrameMk id="5" creationId="{0690BB69-E359-4ACB-B0D7-C36798607629}"/>
          </ac:graphicFrameMkLst>
        </pc:graphicFrameChg>
      </pc:sldChg>
      <pc:sldChg chg="addSp delSp modSp add mod modNotesTx">
        <pc:chgData name="Filipe Moreira" userId="fa9bf1d2-47eb-439d-b2f4-ca03a48a6bbf" providerId="ADAL" clId="{73E20F0B-4CFC-4D3F-B9AF-F751BD023C30}" dt="2020-06-29T08:30:39.486" v="4752" actId="26606"/>
        <pc:sldMkLst>
          <pc:docMk/>
          <pc:sldMk cId="3315347330" sldId="455"/>
        </pc:sldMkLst>
        <pc:spChg chg="mod">
          <ac:chgData name="Filipe Moreira" userId="fa9bf1d2-47eb-439d-b2f4-ca03a48a6bbf" providerId="ADAL" clId="{73E20F0B-4CFC-4D3F-B9AF-F751BD023C30}" dt="2020-06-29T08:30:39.486" v="4752" actId="26606"/>
          <ac:spMkLst>
            <pc:docMk/>
            <pc:sldMk cId="3315347330" sldId="455"/>
            <ac:spMk id="2" creationId="{EB67312A-9819-43C6-8D84-D9136E6CFFCC}"/>
          </ac:spMkLst>
        </pc:spChg>
        <pc:graphicFrameChg chg="add del mod">
          <ac:chgData name="Filipe Moreira" userId="fa9bf1d2-47eb-439d-b2f4-ca03a48a6bbf" providerId="ADAL" clId="{73E20F0B-4CFC-4D3F-B9AF-F751BD023C30}" dt="2020-06-29T08:30:25.590" v="4751" actId="478"/>
          <ac:graphicFrameMkLst>
            <pc:docMk/>
            <pc:sldMk cId="3315347330" sldId="455"/>
            <ac:graphicFrameMk id="4" creationId="{87F3945F-EE5A-44C7-9482-6C019331216E}"/>
          </ac:graphicFrameMkLst>
        </pc:graphicFrameChg>
        <pc:graphicFrameChg chg="mod modGraphic">
          <ac:chgData name="Filipe Moreira" userId="fa9bf1d2-47eb-439d-b2f4-ca03a48a6bbf" providerId="ADAL" clId="{73E20F0B-4CFC-4D3F-B9AF-F751BD023C30}" dt="2020-06-29T08:30:39.486" v="4752" actId="26606"/>
          <ac:graphicFrameMkLst>
            <pc:docMk/>
            <pc:sldMk cId="3315347330" sldId="455"/>
            <ac:graphicFrameMk id="5" creationId="{0690BB69-E359-4ACB-B0D7-C36798607629}"/>
          </ac:graphicFrameMkLst>
        </pc:graphicFrameChg>
      </pc:sldChg>
      <pc:sldChg chg="modSp add mod modClrScheme chgLayout modNotesTx">
        <pc:chgData name="Filipe Moreira" userId="fa9bf1d2-47eb-439d-b2f4-ca03a48a6bbf" providerId="ADAL" clId="{73E20F0B-4CFC-4D3F-B9AF-F751BD023C30}" dt="2020-06-29T09:24:56.446" v="4807"/>
        <pc:sldMkLst>
          <pc:docMk/>
          <pc:sldMk cId="64064322" sldId="456"/>
        </pc:sldMkLst>
        <pc:spChg chg="mod">
          <ac:chgData name="Filipe Moreira" userId="fa9bf1d2-47eb-439d-b2f4-ca03a48a6bbf" providerId="ADAL" clId="{73E20F0B-4CFC-4D3F-B9AF-F751BD023C30}" dt="2020-06-29T08:30:56.392" v="4753" actId="26606"/>
          <ac:spMkLst>
            <pc:docMk/>
            <pc:sldMk cId="64064322" sldId="456"/>
            <ac:spMk id="2" creationId="{EB67312A-9819-43C6-8D84-D9136E6CFFCC}"/>
          </ac:spMkLst>
        </pc:spChg>
        <pc:graphicFrameChg chg="add mod modGraphic">
          <ac:chgData name="Filipe Moreira" userId="fa9bf1d2-47eb-439d-b2f4-ca03a48a6bbf" providerId="ADAL" clId="{73E20F0B-4CFC-4D3F-B9AF-F751BD023C30}" dt="2020-06-29T09:24:56.446" v="4807"/>
          <ac:graphicFrameMkLst>
            <pc:docMk/>
            <pc:sldMk cId="64064322" sldId="456"/>
            <ac:graphicFrameMk id="5" creationId="{0690BB69-E359-4ACB-B0D7-C36798607629}"/>
          </ac:graphicFrameMkLst>
        </pc:graphicFrameChg>
      </pc:sldChg>
      <pc:sldChg chg="addSp delSp modSp add mod modClrScheme chgLayout modNotesTx">
        <pc:chgData name="Filipe Moreira" userId="fa9bf1d2-47eb-439d-b2f4-ca03a48a6bbf" providerId="ADAL" clId="{73E20F0B-4CFC-4D3F-B9AF-F751BD023C30}" dt="2020-06-29T09:26:50.465" v="4808"/>
        <pc:sldMkLst>
          <pc:docMk/>
          <pc:sldMk cId="656773289" sldId="457"/>
        </pc:sldMkLst>
        <pc:spChg chg="mod">
          <ac:chgData name="Filipe Moreira" userId="fa9bf1d2-47eb-439d-b2f4-ca03a48a6bbf" providerId="ADAL" clId="{73E20F0B-4CFC-4D3F-B9AF-F751BD023C30}" dt="2020-06-29T09:03:06.416" v="4786" actId="26606"/>
          <ac:spMkLst>
            <pc:docMk/>
            <pc:sldMk cId="656773289" sldId="457"/>
            <ac:spMk id="2" creationId="{EB67312A-9819-43C6-8D84-D9136E6CFFCC}"/>
          </ac:spMkLst>
        </pc:spChg>
        <pc:spChg chg="add del mod">
          <ac:chgData name="Filipe Moreira" userId="fa9bf1d2-47eb-439d-b2f4-ca03a48a6bbf" providerId="ADAL" clId="{73E20F0B-4CFC-4D3F-B9AF-F751BD023C30}" dt="2020-06-29T08:28:15.586" v="4665" actId="26606"/>
          <ac:spMkLst>
            <pc:docMk/>
            <pc:sldMk cId="656773289" sldId="457"/>
            <ac:spMk id="10" creationId="{7AC3A7AB-451B-4BDB-833D-99DCDC1A7C8F}"/>
          </ac:spMkLst>
        </pc:spChg>
        <pc:spChg chg="add del">
          <ac:chgData name="Filipe Moreira" userId="fa9bf1d2-47eb-439d-b2f4-ca03a48a6bbf" providerId="ADAL" clId="{73E20F0B-4CFC-4D3F-B9AF-F751BD023C30}" dt="2020-06-29T09:03:06.416" v="4786" actId="26606"/>
          <ac:spMkLst>
            <pc:docMk/>
            <pc:sldMk cId="656773289" sldId="457"/>
            <ac:spMk id="15" creationId="{26132E8D-894F-41AB-97EB-C7B6FE8DC243}"/>
          </ac:spMkLst>
        </pc:spChg>
        <pc:graphicFrameChg chg="mod modGraphic">
          <ac:chgData name="Filipe Moreira" userId="fa9bf1d2-47eb-439d-b2f4-ca03a48a6bbf" providerId="ADAL" clId="{73E20F0B-4CFC-4D3F-B9AF-F751BD023C30}" dt="2020-06-29T09:26:50.465" v="4808"/>
          <ac:graphicFrameMkLst>
            <pc:docMk/>
            <pc:sldMk cId="656773289" sldId="457"/>
            <ac:graphicFrameMk id="5" creationId="{0690BB69-E359-4ACB-B0D7-C36798607629}"/>
          </ac:graphicFrameMkLst>
        </pc:graphicFrameChg>
      </pc:sldChg>
      <pc:sldChg chg="modSp add mod modNotesTx">
        <pc:chgData name="Filipe Moreira" userId="fa9bf1d2-47eb-439d-b2f4-ca03a48a6bbf" providerId="ADAL" clId="{73E20F0B-4CFC-4D3F-B9AF-F751BD023C30}" dt="2020-06-29T09:29:23.081" v="4812"/>
        <pc:sldMkLst>
          <pc:docMk/>
          <pc:sldMk cId="2526319268" sldId="458"/>
        </pc:sldMkLst>
        <pc:spChg chg="mod">
          <ac:chgData name="Filipe Moreira" userId="fa9bf1d2-47eb-439d-b2f4-ca03a48a6bbf" providerId="ADAL" clId="{73E20F0B-4CFC-4D3F-B9AF-F751BD023C30}" dt="2020-06-29T08:28:44.749" v="4666" actId="26606"/>
          <ac:spMkLst>
            <pc:docMk/>
            <pc:sldMk cId="2526319268" sldId="458"/>
            <ac:spMk id="2" creationId="{EB67312A-9819-43C6-8D84-D9136E6CFFCC}"/>
          </ac:spMkLst>
        </pc:spChg>
        <pc:graphicFrameChg chg="mod modGraphic">
          <ac:chgData name="Filipe Moreira" userId="fa9bf1d2-47eb-439d-b2f4-ca03a48a6bbf" providerId="ADAL" clId="{73E20F0B-4CFC-4D3F-B9AF-F751BD023C30}" dt="2020-06-29T09:29:23.081" v="4812"/>
          <ac:graphicFrameMkLst>
            <pc:docMk/>
            <pc:sldMk cId="2526319268" sldId="458"/>
            <ac:graphicFrameMk id="5" creationId="{0690BB69-E359-4ACB-B0D7-C36798607629}"/>
          </ac:graphicFrameMkLst>
        </pc:graphicFrameChg>
      </pc:sldChg>
      <pc:sldChg chg="modSp add mod modClrScheme chgLayout modNotesTx">
        <pc:chgData name="Filipe Moreira" userId="fa9bf1d2-47eb-439d-b2f4-ca03a48a6bbf" providerId="ADAL" clId="{73E20F0B-4CFC-4D3F-B9AF-F751BD023C30}" dt="2020-06-29T08:31:51.869" v="4759" actId="26606"/>
        <pc:sldMkLst>
          <pc:docMk/>
          <pc:sldMk cId="3030243108" sldId="459"/>
        </pc:sldMkLst>
        <pc:spChg chg="mod">
          <ac:chgData name="Filipe Moreira" userId="fa9bf1d2-47eb-439d-b2f4-ca03a48a6bbf" providerId="ADAL" clId="{73E20F0B-4CFC-4D3F-B9AF-F751BD023C30}" dt="2020-06-29T08:31:51.869" v="4759" actId="26606"/>
          <ac:spMkLst>
            <pc:docMk/>
            <pc:sldMk cId="3030243108" sldId="459"/>
            <ac:spMk id="2" creationId="{EB67312A-9819-43C6-8D84-D9136E6CFFCC}"/>
          </ac:spMkLst>
        </pc:spChg>
        <pc:graphicFrameChg chg="mod modGraphic">
          <ac:chgData name="Filipe Moreira" userId="fa9bf1d2-47eb-439d-b2f4-ca03a48a6bbf" providerId="ADAL" clId="{73E20F0B-4CFC-4D3F-B9AF-F751BD023C30}" dt="2020-06-29T08:31:51.869" v="4759" actId="26606"/>
          <ac:graphicFrameMkLst>
            <pc:docMk/>
            <pc:sldMk cId="3030243108" sldId="459"/>
            <ac:graphicFrameMk id="5" creationId="{0690BB69-E359-4ACB-B0D7-C36798607629}"/>
          </ac:graphicFrameMkLst>
        </pc:graphicFrameChg>
      </pc:sldChg>
      <pc:sldChg chg="addSp delSp modSp add mod modClrScheme chgLayout modNotesTx">
        <pc:chgData name="Filipe Moreira" userId="fa9bf1d2-47eb-439d-b2f4-ca03a48a6bbf" providerId="ADAL" clId="{73E20F0B-4CFC-4D3F-B9AF-F751BD023C30}" dt="2020-06-29T09:16:45.624" v="4798"/>
        <pc:sldMkLst>
          <pc:docMk/>
          <pc:sldMk cId="2152042639" sldId="460"/>
        </pc:sldMkLst>
        <pc:spChg chg="mod">
          <ac:chgData name="Filipe Moreira" userId="fa9bf1d2-47eb-439d-b2f4-ca03a48a6bbf" providerId="ADAL" clId="{73E20F0B-4CFC-4D3F-B9AF-F751BD023C30}" dt="2020-06-29T08:31:06.700" v="4756" actId="26606"/>
          <ac:spMkLst>
            <pc:docMk/>
            <pc:sldMk cId="2152042639" sldId="460"/>
            <ac:spMk id="2" creationId="{EB67312A-9819-43C6-8D84-D9136E6CFFCC}"/>
          </ac:spMkLst>
        </pc:spChg>
        <pc:spChg chg="add del mod">
          <ac:chgData name="Filipe Moreira" userId="fa9bf1d2-47eb-439d-b2f4-ca03a48a6bbf" providerId="ADAL" clId="{73E20F0B-4CFC-4D3F-B9AF-F751BD023C30}" dt="2020-06-29T08:26:47.867" v="4649"/>
          <ac:spMkLst>
            <pc:docMk/>
            <pc:sldMk cId="2152042639" sldId="460"/>
            <ac:spMk id="3" creationId="{91FA5181-9C7B-4381-8124-5CB6A53531DD}"/>
          </ac:spMkLst>
        </pc:spChg>
        <pc:spChg chg="add mod">
          <ac:chgData name="Filipe Moreira" userId="fa9bf1d2-47eb-439d-b2f4-ca03a48a6bbf" providerId="ADAL" clId="{73E20F0B-4CFC-4D3F-B9AF-F751BD023C30}" dt="2020-06-29T08:31:06.700" v="4756" actId="26606"/>
          <ac:spMkLst>
            <pc:docMk/>
            <pc:sldMk cId="2152042639" sldId="460"/>
            <ac:spMk id="7" creationId="{40686729-4672-4F5E-B106-838CF898DF50}"/>
          </ac:spMkLst>
        </pc:spChg>
        <pc:spChg chg="add del mod">
          <ac:chgData name="Filipe Moreira" userId="fa9bf1d2-47eb-439d-b2f4-ca03a48a6bbf" providerId="ADAL" clId="{73E20F0B-4CFC-4D3F-B9AF-F751BD023C30}" dt="2020-06-29T08:27:11.827" v="4653" actId="26606"/>
          <ac:spMkLst>
            <pc:docMk/>
            <pc:sldMk cId="2152042639" sldId="460"/>
            <ac:spMk id="10" creationId="{798B3F13-9585-4C93-816A-C307384099DB}"/>
          </ac:spMkLst>
        </pc:spChg>
        <pc:graphicFrameChg chg="add mod modGraphic">
          <ac:chgData name="Filipe Moreira" userId="fa9bf1d2-47eb-439d-b2f4-ca03a48a6bbf" providerId="ADAL" clId="{73E20F0B-4CFC-4D3F-B9AF-F751BD023C30}" dt="2020-06-29T09:16:45.624" v="4798"/>
          <ac:graphicFrameMkLst>
            <pc:docMk/>
            <pc:sldMk cId="2152042639" sldId="460"/>
            <ac:graphicFrameMk id="5" creationId="{0690BB69-E359-4ACB-B0D7-C36798607629}"/>
          </ac:graphicFrameMkLst>
        </pc:graphicFrameChg>
      </pc:sldChg>
      <pc:sldChg chg="add del">
        <pc:chgData name="Filipe Moreira" userId="fa9bf1d2-47eb-439d-b2f4-ca03a48a6bbf" providerId="ADAL" clId="{73E20F0B-4CFC-4D3F-B9AF-F751BD023C30}" dt="2020-06-23T16:14:20.991" v="767" actId="47"/>
        <pc:sldMkLst>
          <pc:docMk/>
          <pc:sldMk cId="2752103624" sldId="460"/>
        </pc:sldMkLst>
      </pc:sldChg>
      <pc:sldChg chg="modSp add mod">
        <pc:chgData name="Filipe Moreira" userId="fa9bf1d2-47eb-439d-b2f4-ca03a48a6bbf" providerId="ADAL" clId="{73E20F0B-4CFC-4D3F-B9AF-F751BD023C30}" dt="2020-06-29T08:02:31.776" v="4473" actId="20577"/>
        <pc:sldMkLst>
          <pc:docMk/>
          <pc:sldMk cId="1814913622" sldId="461"/>
        </pc:sldMkLst>
        <pc:spChg chg="mod">
          <ac:chgData name="Filipe Moreira" userId="fa9bf1d2-47eb-439d-b2f4-ca03a48a6bbf" providerId="ADAL" clId="{73E20F0B-4CFC-4D3F-B9AF-F751BD023C30}" dt="2020-06-29T08:02:31.776" v="4473" actId="20577"/>
          <ac:spMkLst>
            <pc:docMk/>
            <pc:sldMk cId="1814913622" sldId="461"/>
            <ac:spMk id="2" creationId="{74CD77A6-E28D-4D8D-9FE5-64ADAA827AC9}"/>
          </ac:spMkLst>
        </pc:spChg>
      </pc:sldChg>
      <pc:sldChg chg="add del">
        <pc:chgData name="Filipe Moreira" userId="fa9bf1d2-47eb-439d-b2f4-ca03a48a6bbf" providerId="ADAL" clId="{73E20F0B-4CFC-4D3F-B9AF-F751BD023C30}" dt="2020-06-24T14:59:42.942" v="3006"/>
        <pc:sldMkLst>
          <pc:docMk/>
          <pc:sldMk cId="4137305287" sldId="461"/>
        </pc:sldMkLst>
      </pc:sldChg>
      <pc:sldChg chg="modSp add mod">
        <pc:chgData name="Filipe Moreira" userId="fa9bf1d2-47eb-439d-b2f4-ca03a48a6bbf" providerId="ADAL" clId="{73E20F0B-4CFC-4D3F-B9AF-F751BD023C30}" dt="2020-06-24T15:00:44.290" v="3054" actId="20577"/>
        <pc:sldMkLst>
          <pc:docMk/>
          <pc:sldMk cId="3338067036" sldId="462"/>
        </pc:sldMkLst>
        <pc:spChg chg="mod">
          <ac:chgData name="Filipe Moreira" userId="fa9bf1d2-47eb-439d-b2f4-ca03a48a6bbf" providerId="ADAL" clId="{73E20F0B-4CFC-4D3F-B9AF-F751BD023C30}" dt="2020-06-24T15:00:44.290" v="3054" actId="20577"/>
          <ac:spMkLst>
            <pc:docMk/>
            <pc:sldMk cId="3338067036" sldId="462"/>
            <ac:spMk id="2" creationId="{74CD77A6-E28D-4D8D-9FE5-64ADAA827AC9}"/>
          </ac:spMkLst>
        </pc:spChg>
      </pc:sldChg>
      <pc:sldChg chg="addSp modSp add mod modAnim modNotesTx">
        <pc:chgData name="Filipe Moreira" userId="fa9bf1d2-47eb-439d-b2f4-ca03a48a6bbf" providerId="ADAL" clId="{73E20F0B-4CFC-4D3F-B9AF-F751BD023C30}" dt="2020-06-29T09:19:38.182" v="4801"/>
        <pc:sldMkLst>
          <pc:docMk/>
          <pc:sldMk cId="3775987326" sldId="463"/>
        </pc:sldMkLst>
        <pc:spChg chg="add mod">
          <ac:chgData name="Filipe Moreira" userId="fa9bf1d2-47eb-439d-b2f4-ca03a48a6bbf" providerId="ADAL" clId="{73E20F0B-4CFC-4D3F-B9AF-F751BD023C30}" dt="2020-06-25T11:05:39.702" v="4396"/>
          <ac:spMkLst>
            <pc:docMk/>
            <pc:sldMk cId="3775987326" sldId="463"/>
            <ac:spMk id="5" creationId="{AB2D1F10-2A8D-46A9-BEAE-9ADE8C3C5E3D}"/>
          </ac:spMkLst>
        </pc:spChg>
        <pc:spChg chg="add mod">
          <ac:chgData name="Filipe Moreira" userId="fa9bf1d2-47eb-439d-b2f4-ca03a48a6bbf" providerId="ADAL" clId="{73E20F0B-4CFC-4D3F-B9AF-F751BD023C30}" dt="2020-06-25T11:05:39.702" v="4396"/>
          <ac:spMkLst>
            <pc:docMk/>
            <pc:sldMk cId="3775987326" sldId="463"/>
            <ac:spMk id="6" creationId="{F79242BD-2D75-4F7D-8099-FA26433E9EF0}"/>
          </ac:spMkLst>
        </pc:spChg>
        <pc:grpChg chg="add mod">
          <ac:chgData name="Filipe Moreira" userId="fa9bf1d2-47eb-439d-b2f4-ca03a48a6bbf" providerId="ADAL" clId="{73E20F0B-4CFC-4D3F-B9AF-F751BD023C30}" dt="2020-06-25T11:05:39.702" v="4396"/>
          <ac:grpSpMkLst>
            <pc:docMk/>
            <pc:sldMk cId="3775987326" sldId="463"/>
            <ac:grpSpMk id="4" creationId="{01D53DBA-C41B-4E83-A690-A3D41CD9CA7B}"/>
          </ac:grpSpMkLst>
        </pc:grpChg>
        <pc:graphicFrameChg chg="mod">
          <ac:chgData name="Filipe Moreira" userId="fa9bf1d2-47eb-439d-b2f4-ca03a48a6bbf" providerId="ADAL" clId="{73E20F0B-4CFC-4D3F-B9AF-F751BD023C30}" dt="2020-06-29T09:19:38.182" v="4801"/>
          <ac:graphicFrameMkLst>
            <pc:docMk/>
            <pc:sldMk cId="3775987326" sldId="463"/>
            <ac:graphicFrameMk id="8" creationId="{F2F3C940-AD7F-4BDC-B54E-5C35FE27C4CC}"/>
          </ac:graphicFrameMkLst>
        </pc:graphicFrameChg>
        <pc:picChg chg="add mod">
          <ac:chgData name="Filipe Moreira" userId="fa9bf1d2-47eb-439d-b2f4-ca03a48a6bbf" providerId="ADAL" clId="{73E20F0B-4CFC-4D3F-B9AF-F751BD023C30}" dt="2020-06-25T11:16:36.793" v="4441" actId="1076"/>
          <ac:picMkLst>
            <pc:docMk/>
            <pc:sldMk cId="3775987326" sldId="463"/>
            <ac:picMk id="2050" creationId="{575ED0DA-C2C3-46F7-82E8-8F46DCE736FE}"/>
          </ac:picMkLst>
        </pc:picChg>
        <pc:picChg chg="add mod">
          <ac:chgData name="Filipe Moreira" userId="fa9bf1d2-47eb-439d-b2f4-ca03a48a6bbf" providerId="ADAL" clId="{73E20F0B-4CFC-4D3F-B9AF-F751BD023C30}" dt="2020-06-25T11:16:40.964" v="4442" actId="1076"/>
          <ac:picMkLst>
            <pc:docMk/>
            <pc:sldMk cId="3775987326" sldId="463"/>
            <ac:picMk id="2052" creationId="{E82A1B76-4007-4E95-A0DE-EFC77F68C61F}"/>
          </ac:picMkLst>
        </pc:picChg>
      </pc:sldChg>
      <pc:sldChg chg="add del">
        <pc:chgData name="Filipe Moreira" userId="fa9bf1d2-47eb-439d-b2f4-ca03a48a6bbf" providerId="ADAL" clId="{73E20F0B-4CFC-4D3F-B9AF-F751BD023C30}" dt="2020-06-29T09:05:35.244" v="4789" actId="47"/>
        <pc:sldMkLst>
          <pc:docMk/>
          <pc:sldMk cId="1243308906" sldId="464"/>
        </pc:sldMkLst>
      </pc:sldChg>
      <pc:sldChg chg="modSp add del">
        <pc:chgData name="Filipe Moreira" userId="fa9bf1d2-47eb-439d-b2f4-ca03a48a6bbf" providerId="ADAL" clId="{73E20F0B-4CFC-4D3F-B9AF-F751BD023C30}" dt="2020-06-25T10:35:01.706" v="4234" actId="47"/>
        <pc:sldMkLst>
          <pc:docMk/>
          <pc:sldMk cId="846662439" sldId="465"/>
        </pc:sldMkLst>
        <pc:spChg chg="mod">
          <ac:chgData name="Filipe Moreira" userId="fa9bf1d2-47eb-439d-b2f4-ca03a48a6bbf" providerId="ADAL" clId="{73E20F0B-4CFC-4D3F-B9AF-F751BD023C30}" dt="2020-06-24T16:03:35.686" v="3630" actId="20577"/>
          <ac:spMkLst>
            <pc:docMk/>
            <pc:sldMk cId="846662439" sldId="465"/>
            <ac:spMk id="2" creationId="{A4AC55A8-6F7F-4618-A50D-6AD24E34A284}"/>
          </ac:spMkLst>
        </pc:spChg>
      </pc:sldChg>
      <pc:sldChg chg="modSp add del">
        <pc:chgData name="Filipe Moreira" userId="fa9bf1d2-47eb-439d-b2f4-ca03a48a6bbf" providerId="ADAL" clId="{73E20F0B-4CFC-4D3F-B9AF-F751BD023C30}" dt="2020-06-25T10:35:01.706" v="4234" actId="47"/>
        <pc:sldMkLst>
          <pc:docMk/>
          <pc:sldMk cId="45350998" sldId="466"/>
        </pc:sldMkLst>
        <pc:spChg chg="mod">
          <ac:chgData name="Filipe Moreira" userId="fa9bf1d2-47eb-439d-b2f4-ca03a48a6bbf" providerId="ADAL" clId="{73E20F0B-4CFC-4D3F-B9AF-F751BD023C30}" dt="2020-06-24T16:03:43.025" v="3631"/>
          <ac:spMkLst>
            <pc:docMk/>
            <pc:sldMk cId="45350998" sldId="466"/>
            <ac:spMk id="2" creationId="{D5997F4A-8458-4B53-B4C8-F95CAE4B7DAD}"/>
          </ac:spMkLst>
        </pc:spChg>
      </pc:sldChg>
      <pc:sldChg chg="modSp add del">
        <pc:chgData name="Filipe Moreira" userId="fa9bf1d2-47eb-439d-b2f4-ca03a48a6bbf" providerId="ADAL" clId="{73E20F0B-4CFC-4D3F-B9AF-F751BD023C30}" dt="2020-06-25T10:35:01.706" v="4234" actId="47"/>
        <pc:sldMkLst>
          <pc:docMk/>
          <pc:sldMk cId="4137344889" sldId="467"/>
        </pc:sldMkLst>
        <pc:spChg chg="mod">
          <ac:chgData name="Filipe Moreira" userId="fa9bf1d2-47eb-439d-b2f4-ca03a48a6bbf" providerId="ADAL" clId="{73E20F0B-4CFC-4D3F-B9AF-F751BD023C30}" dt="2020-06-24T16:03:45.546" v="3632"/>
          <ac:spMkLst>
            <pc:docMk/>
            <pc:sldMk cId="4137344889" sldId="467"/>
            <ac:spMk id="2" creationId="{A5512D65-8549-4BA8-9C1A-929C36895DB9}"/>
          </ac:spMkLst>
        </pc:spChg>
      </pc:sldChg>
      <pc:sldChg chg="modSp add del">
        <pc:chgData name="Filipe Moreira" userId="fa9bf1d2-47eb-439d-b2f4-ca03a48a6bbf" providerId="ADAL" clId="{73E20F0B-4CFC-4D3F-B9AF-F751BD023C30}" dt="2020-06-25T10:35:01.706" v="4234" actId="47"/>
        <pc:sldMkLst>
          <pc:docMk/>
          <pc:sldMk cId="67040302" sldId="468"/>
        </pc:sldMkLst>
        <pc:spChg chg="mod">
          <ac:chgData name="Filipe Moreira" userId="fa9bf1d2-47eb-439d-b2f4-ca03a48a6bbf" providerId="ADAL" clId="{73E20F0B-4CFC-4D3F-B9AF-F751BD023C30}" dt="2020-06-24T16:03:47.946" v="3633"/>
          <ac:spMkLst>
            <pc:docMk/>
            <pc:sldMk cId="67040302" sldId="468"/>
            <ac:spMk id="2" creationId="{811B42F0-55E7-41E7-A1EB-53FFA47BF1F2}"/>
          </ac:spMkLst>
        </pc:spChg>
      </pc:sldChg>
      <pc:sldChg chg="modSp add del">
        <pc:chgData name="Filipe Moreira" userId="fa9bf1d2-47eb-439d-b2f4-ca03a48a6bbf" providerId="ADAL" clId="{73E20F0B-4CFC-4D3F-B9AF-F751BD023C30}" dt="2020-06-24T16:02:45.708" v="3622" actId="2696"/>
        <pc:sldMkLst>
          <pc:docMk/>
          <pc:sldMk cId="689068998" sldId="468"/>
        </pc:sldMkLst>
        <pc:spChg chg="mod">
          <ac:chgData name="Filipe Moreira" userId="fa9bf1d2-47eb-439d-b2f4-ca03a48a6bbf" providerId="ADAL" clId="{73E20F0B-4CFC-4D3F-B9AF-F751BD023C30}" dt="2020-06-24T16:02:45.185" v="3621"/>
          <ac:spMkLst>
            <pc:docMk/>
            <pc:sldMk cId="689068998" sldId="468"/>
            <ac:spMk id="2" creationId="{8F74C3FC-0730-4CC2-881C-ACEA8FE978CC}"/>
          </ac:spMkLst>
        </pc:spChg>
      </pc:sldChg>
      <pc:sldChg chg="modSp add modAnim">
        <pc:chgData name="Filipe Moreira" userId="fa9bf1d2-47eb-439d-b2f4-ca03a48a6bbf" providerId="ADAL" clId="{73E20F0B-4CFC-4D3F-B9AF-F751BD023C30}" dt="2020-06-29T09:18:38.267" v="4800"/>
        <pc:sldMkLst>
          <pc:docMk/>
          <pc:sldMk cId="2134231514" sldId="469"/>
        </pc:sldMkLst>
        <pc:graphicFrameChg chg="mod">
          <ac:chgData name="Filipe Moreira" userId="fa9bf1d2-47eb-439d-b2f4-ca03a48a6bbf" providerId="ADAL" clId="{73E20F0B-4CFC-4D3F-B9AF-F751BD023C30}" dt="2020-06-29T09:18:38.267" v="4800"/>
          <ac:graphicFrameMkLst>
            <pc:docMk/>
            <pc:sldMk cId="2134231514" sldId="469"/>
            <ac:graphicFrameMk id="8" creationId="{F2F3C940-AD7F-4BDC-B54E-5C35FE27C4CC}"/>
          </ac:graphicFrameMkLst>
        </pc:graphicFrameChg>
      </pc:sldChg>
      <pc:sldChg chg="modSp add modAnim">
        <pc:chgData name="Filipe Moreira" userId="fa9bf1d2-47eb-439d-b2f4-ca03a48a6bbf" providerId="ADAL" clId="{73E20F0B-4CFC-4D3F-B9AF-F751BD023C30}" dt="2020-06-25T11:14:12.358" v="4427"/>
        <pc:sldMkLst>
          <pc:docMk/>
          <pc:sldMk cId="3626951475" sldId="470"/>
        </pc:sldMkLst>
        <pc:graphicFrameChg chg="mod">
          <ac:chgData name="Filipe Moreira" userId="fa9bf1d2-47eb-439d-b2f4-ca03a48a6bbf" providerId="ADAL" clId="{73E20F0B-4CFC-4D3F-B9AF-F751BD023C30}" dt="2020-06-25T06:30:19.215" v="4233" actId="20577"/>
          <ac:graphicFrameMkLst>
            <pc:docMk/>
            <pc:sldMk cId="3626951475" sldId="470"/>
            <ac:graphicFrameMk id="8" creationId="{F2F3C940-AD7F-4BDC-B54E-5C35FE27C4CC}"/>
          </ac:graphicFrameMkLst>
        </pc:graphicFrameChg>
      </pc:sldChg>
      <pc:sldChg chg="modSp add modAnim">
        <pc:chgData name="Filipe Moreira" userId="fa9bf1d2-47eb-439d-b2f4-ca03a48a6bbf" providerId="ADAL" clId="{73E20F0B-4CFC-4D3F-B9AF-F751BD023C30}" dt="2020-06-29T08:06:58.905" v="4614" actId="20577"/>
        <pc:sldMkLst>
          <pc:docMk/>
          <pc:sldMk cId="2806168021" sldId="471"/>
        </pc:sldMkLst>
        <pc:graphicFrameChg chg="mod">
          <ac:chgData name="Filipe Moreira" userId="fa9bf1d2-47eb-439d-b2f4-ca03a48a6bbf" providerId="ADAL" clId="{73E20F0B-4CFC-4D3F-B9AF-F751BD023C30}" dt="2020-06-29T08:06:58.905" v="4614" actId="20577"/>
          <ac:graphicFrameMkLst>
            <pc:docMk/>
            <pc:sldMk cId="2806168021" sldId="471"/>
            <ac:graphicFrameMk id="8" creationId="{F2F3C940-AD7F-4BDC-B54E-5C35FE27C4CC}"/>
          </ac:graphicFrameMkLst>
        </pc:graphicFrameChg>
      </pc:sldChg>
      <pc:sldChg chg="addSp delSp modSp add mod addAnim delAnim modAnim modNotesTx">
        <pc:chgData name="Filipe Moreira" userId="fa9bf1d2-47eb-439d-b2f4-ca03a48a6bbf" providerId="ADAL" clId="{73E20F0B-4CFC-4D3F-B9AF-F751BD023C30}" dt="2020-06-28T09:20:19.460" v="4467" actId="20577"/>
        <pc:sldMkLst>
          <pc:docMk/>
          <pc:sldMk cId="2887280232" sldId="472"/>
        </pc:sldMkLst>
        <pc:spChg chg="add del mod">
          <ac:chgData name="Filipe Moreira" userId="fa9bf1d2-47eb-439d-b2f4-ca03a48a6bbf" providerId="ADAL" clId="{73E20F0B-4CFC-4D3F-B9AF-F751BD023C30}" dt="2020-06-25T10:51:29.350" v="4239" actId="21"/>
          <ac:spMkLst>
            <pc:docMk/>
            <pc:sldMk cId="2887280232" sldId="472"/>
            <ac:spMk id="4" creationId="{0D18113C-33AF-430A-9197-7061BDD4339E}"/>
          </ac:spMkLst>
        </pc:spChg>
        <pc:spChg chg="add mod">
          <ac:chgData name="Filipe Moreira" userId="fa9bf1d2-47eb-439d-b2f4-ca03a48a6bbf" providerId="ADAL" clId="{73E20F0B-4CFC-4D3F-B9AF-F751BD023C30}" dt="2020-06-25T10:51:53.629" v="4245"/>
          <ac:spMkLst>
            <pc:docMk/>
            <pc:sldMk cId="2887280232" sldId="472"/>
            <ac:spMk id="7" creationId="{FA483543-CB15-45B4-8705-1288967B9171}"/>
          </ac:spMkLst>
        </pc:spChg>
        <pc:spChg chg="add mod">
          <ac:chgData name="Filipe Moreira" userId="fa9bf1d2-47eb-439d-b2f4-ca03a48a6bbf" providerId="ADAL" clId="{73E20F0B-4CFC-4D3F-B9AF-F751BD023C30}" dt="2020-06-25T10:51:53.629" v="4245"/>
          <ac:spMkLst>
            <pc:docMk/>
            <pc:sldMk cId="2887280232" sldId="472"/>
            <ac:spMk id="9" creationId="{73ED70C9-EA19-4EB8-9866-B3C11585132F}"/>
          </ac:spMkLst>
        </pc:spChg>
        <pc:grpChg chg="add mod">
          <ac:chgData name="Filipe Moreira" userId="fa9bf1d2-47eb-439d-b2f4-ca03a48a6bbf" providerId="ADAL" clId="{73E20F0B-4CFC-4D3F-B9AF-F751BD023C30}" dt="2020-06-25T10:51:53.629" v="4245"/>
          <ac:grpSpMkLst>
            <pc:docMk/>
            <pc:sldMk cId="2887280232" sldId="472"/>
            <ac:grpSpMk id="6" creationId="{9C121F28-18E3-4FCC-977A-1CFD8B1EE104}"/>
          </ac:grpSpMkLst>
        </pc:grpChg>
        <pc:graphicFrameChg chg="add del mod modGraphic">
          <ac:chgData name="Filipe Moreira" userId="fa9bf1d2-47eb-439d-b2f4-ca03a48a6bbf" providerId="ADAL" clId="{73E20F0B-4CFC-4D3F-B9AF-F751BD023C30}" dt="2020-06-25T10:53:06.014" v="4256" actId="1032"/>
          <ac:graphicFrameMkLst>
            <pc:docMk/>
            <pc:sldMk cId="2887280232" sldId="472"/>
            <ac:graphicFrameMk id="5" creationId="{F4FD1BFE-D4EA-41A6-B2A1-6005E9E399F1}"/>
          </ac:graphicFrameMkLst>
        </pc:graphicFrameChg>
        <pc:graphicFrameChg chg="add del mod">
          <ac:chgData name="Filipe Moreira" userId="fa9bf1d2-47eb-439d-b2f4-ca03a48a6bbf" providerId="ADAL" clId="{73E20F0B-4CFC-4D3F-B9AF-F751BD023C30}" dt="2020-06-25T10:53:09.250" v="4261" actId="14100"/>
          <ac:graphicFrameMkLst>
            <pc:docMk/>
            <pc:sldMk cId="2887280232" sldId="472"/>
            <ac:graphicFrameMk id="8" creationId="{F2F3C940-AD7F-4BDC-B54E-5C35FE27C4CC}"/>
          </ac:graphicFrameMkLst>
        </pc:graphicFrameChg>
      </pc:sldChg>
      <pc:sldChg chg="modSp add modAnim">
        <pc:chgData name="Filipe Moreira" userId="fa9bf1d2-47eb-439d-b2f4-ca03a48a6bbf" providerId="ADAL" clId="{73E20F0B-4CFC-4D3F-B9AF-F751BD023C30}" dt="2020-06-25T11:14:22.648" v="4430"/>
        <pc:sldMkLst>
          <pc:docMk/>
          <pc:sldMk cId="1277670463" sldId="473"/>
        </pc:sldMkLst>
        <pc:graphicFrameChg chg="mod">
          <ac:chgData name="Filipe Moreira" userId="fa9bf1d2-47eb-439d-b2f4-ca03a48a6bbf" providerId="ADAL" clId="{73E20F0B-4CFC-4D3F-B9AF-F751BD023C30}" dt="2020-06-25T11:05:15.367" v="4394" actId="20577"/>
          <ac:graphicFrameMkLst>
            <pc:docMk/>
            <pc:sldMk cId="1277670463" sldId="473"/>
            <ac:graphicFrameMk id="8" creationId="{F2F3C940-AD7F-4BDC-B54E-5C35FE27C4CC}"/>
          </ac:graphicFrameMkLst>
        </pc:graphicFrameChg>
      </pc:sldChg>
      <pc:sldChg chg="modSp add modAnim">
        <pc:chgData name="Filipe Moreira" userId="fa9bf1d2-47eb-439d-b2f4-ca03a48a6bbf" providerId="ADAL" clId="{73E20F0B-4CFC-4D3F-B9AF-F751BD023C30}" dt="2020-06-29T09:19:46.459" v="4802"/>
        <pc:sldMkLst>
          <pc:docMk/>
          <pc:sldMk cId="1462079051" sldId="474"/>
        </pc:sldMkLst>
        <pc:graphicFrameChg chg="mod">
          <ac:chgData name="Filipe Moreira" userId="fa9bf1d2-47eb-439d-b2f4-ca03a48a6bbf" providerId="ADAL" clId="{73E20F0B-4CFC-4D3F-B9AF-F751BD023C30}" dt="2020-06-29T09:19:46.459" v="4802"/>
          <ac:graphicFrameMkLst>
            <pc:docMk/>
            <pc:sldMk cId="1462079051" sldId="474"/>
            <ac:graphicFrameMk id="8" creationId="{F2F3C940-AD7F-4BDC-B54E-5C35FE27C4CC}"/>
          </ac:graphicFrameMkLst>
        </pc:graphicFrameChg>
      </pc:sldChg>
      <pc:sldChg chg="modSp add mod modClrScheme chgLayout">
        <pc:chgData name="Filipe Moreira" userId="fa9bf1d2-47eb-439d-b2f4-ca03a48a6bbf" providerId="ADAL" clId="{73E20F0B-4CFC-4D3F-B9AF-F751BD023C30}" dt="2020-06-29T08:32:14.503" v="4761" actId="26606"/>
        <pc:sldMkLst>
          <pc:docMk/>
          <pc:sldMk cId="458532777" sldId="475"/>
        </pc:sldMkLst>
        <pc:spChg chg="mod">
          <ac:chgData name="Filipe Moreira" userId="fa9bf1d2-47eb-439d-b2f4-ca03a48a6bbf" providerId="ADAL" clId="{73E20F0B-4CFC-4D3F-B9AF-F751BD023C30}" dt="2020-06-29T08:32:05.159" v="4760" actId="26606"/>
          <ac:spMkLst>
            <pc:docMk/>
            <pc:sldMk cId="458532777" sldId="475"/>
            <ac:spMk id="2" creationId="{EB67312A-9819-43C6-8D84-D9136E6CFFCC}"/>
          </ac:spMkLst>
        </pc:spChg>
        <pc:graphicFrameChg chg="mod modGraphic">
          <ac:chgData name="Filipe Moreira" userId="fa9bf1d2-47eb-439d-b2f4-ca03a48a6bbf" providerId="ADAL" clId="{73E20F0B-4CFC-4D3F-B9AF-F751BD023C30}" dt="2020-06-29T08:32:14.503" v="4761" actId="26606"/>
          <ac:graphicFrameMkLst>
            <pc:docMk/>
            <pc:sldMk cId="458532777" sldId="475"/>
            <ac:graphicFrameMk id="5" creationId="{0690BB69-E359-4ACB-B0D7-C36798607629}"/>
          </ac:graphicFrameMkLst>
        </pc:graphicFrameChg>
      </pc:sldChg>
      <pc:sldChg chg="addSp delSp modSp add del mod delAnim">
        <pc:chgData name="Filipe Moreira" userId="fa9bf1d2-47eb-439d-b2f4-ca03a48a6bbf" providerId="ADAL" clId="{73E20F0B-4CFC-4D3F-B9AF-F751BD023C30}" dt="2020-06-25T11:06:31.573" v="4409" actId="47"/>
        <pc:sldMkLst>
          <pc:docMk/>
          <pc:sldMk cId="777315242" sldId="475"/>
        </pc:sldMkLst>
        <pc:spChg chg="add mod">
          <ac:chgData name="Filipe Moreira" userId="fa9bf1d2-47eb-439d-b2f4-ca03a48a6bbf" providerId="ADAL" clId="{73E20F0B-4CFC-4D3F-B9AF-F751BD023C30}" dt="2020-06-25T11:05:45.549" v="4398" actId="478"/>
          <ac:spMkLst>
            <pc:docMk/>
            <pc:sldMk cId="777315242" sldId="475"/>
            <ac:spMk id="4" creationId="{7286A356-936E-480E-AFE5-245D210B273F}"/>
          </ac:spMkLst>
        </pc:spChg>
        <pc:graphicFrameChg chg="del">
          <ac:chgData name="Filipe Moreira" userId="fa9bf1d2-47eb-439d-b2f4-ca03a48a6bbf" providerId="ADAL" clId="{73E20F0B-4CFC-4D3F-B9AF-F751BD023C30}" dt="2020-06-25T11:05:45.549" v="4398" actId="478"/>
          <ac:graphicFrameMkLst>
            <pc:docMk/>
            <pc:sldMk cId="777315242" sldId="475"/>
            <ac:graphicFrameMk id="8" creationId="{F2F3C940-AD7F-4BDC-B54E-5C35FE27C4CC}"/>
          </ac:graphicFrameMkLst>
        </pc:graphicFrameChg>
        <pc:picChg chg="add mod">
          <ac:chgData name="Filipe Moreira" userId="fa9bf1d2-47eb-439d-b2f4-ca03a48a6bbf" providerId="ADAL" clId="{73E20F0B-4CFC-4D3F-B9AF-F751BD023C30}" dt="2020-06-25T11:05:59.540" v="4401" actId="14100"/>
          <ac:picMkLst>
            <pc:docMk/>
            <pc:sldMk cId="777315242" sldId="475"/>
            <ac:picMk id="1026" creationId="{0FFB29F2-849E-47CB-97A6-A18236D4B626}"/>
          </ac:picMkLst>
        </pc:picChg>
      </pc:sldChg>
      <pc:sldMasterChg chg="delSldLayout">
        <pc:chgData name="Filipe Moreira" userId="fa9bf1d2-47eb-439d-b2f4-ca03a48a6bbf" providerId="ADAL" clId="{73E20F0B-4CFC-4D3F-B9AF-F751BD023C30}" dt="2020-06-29T09:02:38.070" v="4781" actId="47"/>
        <pc:sldMasterMkLst>
          <pc:docMk/>
          <pc:sldMasterMk cId="655271499" sldId="2147483699"/>
        </pc:sldMasterMkLst>
        <pc:sldLayoutChg chg="del">
          <pc:chgData name="Filipe Moreira" userId="fa9bf1d2-47eb-439d-b2f4-ca03a48a6bbf" providerId="ADAL" clId="{73E20F0B-4CFC-4D3F-B9AF-F751BD023C30}" dt="2020-06-29T09:02:38.070" v="4781" actId="47"/>
          <pc:sldLayoutMkLst>
            <pc:docMk/>
            <pc:sldMasterMk cId="655271499" sldId="2147483699"/>
            <pc:sldLayoutMk cId="61427772" sldId="2147483789"/>
          </pc:sldLayoutMkLst>
        </pc:sldLayoutChg>
        <pc:sldLayoutChg chg="del">
          <pc:chgData name="Filipe Moreira" userId="fa9bf1d2-47eb-439d-b2f4-ca03a48a6bbf" providerId="ADAL" clId="{73E20F0B-4CFC-4D3F-B9AF-F751BD023C30}" dt="2020-06-29T09:02:38.070" v="4781" actId="47"/>
          <pc:sldLayoutMkLst>
            <pc:docMk/>
            <pc:sldMasterMk cId="655271499" sldId="2147483699"/>
            <pc:sldLayoutMk cId="3218176938" sldId="2147483791"/>
          </pc:sldLayoutMkLst>
        </pc:sldLayoutChg>
      </pc:sldMasterChg>
      <pc:sldMasterChg chg="del delSldLayout">
        <pc:chgData name="Filipe Moreira" userId="fa9bf1d2-47eb-439d-b2f4-ca03a48a6bbf" providerId="ADAL" clId="{73E20F0B-4CFC-4D3F-B9AF-F751BD023C30}" dt="2020-06-29T09:02:38.070" v="4781" actId="47"/>
        <pc:sldMasterMkLst>
          <pc:docMk/>
          <pc:sldMasterMk cId="219657942" sldId="2147483744"/>
        </pc:sldMasterMkLst>
        <pc:sldLayoutChg chg="del">
          <pc:chgData name="Filipe Moreira" userId="fa9bf1d2-47eb-439d-b2f4-ca03a48a6bbf" providerId="ADAL" clId="{73E20F0B-4CFC-4D3F-B9AF-F751BD023C30}" dt="2020-06-29T09:02:38.070" v="4781" actId="47"/>
          <pc:sldLayoutMkLst>
            <pc:docMk/>
            <pc:sldMasterMk cId="219657942" sldId="2147483744"/>
            <pc:sldLayoutMk cId="884443689" sldId="2147483745"/>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1495696686" sldId="2147483746"/>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2201012896" sldId="2147483747"/>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3346011807" sldId="2147483748"/>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670376445" sldId="2147483749"/>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3325978961" sldId="2147483750"/>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1495406446" sldId="2147483751"/>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2874858120" sldId="2147483752"/>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338451444" sldId="2147483753"/>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2925918142" sldId="2147483754"/>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746948622" sldId="2147483755"/>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3618670799" sldId="2147483756"/>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2298320048" sldId="2147483757"/>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2260375080" sldId="2147483758"/>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803746258" sldId="2147483759"/>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2088519765" sldId="2147483760"/>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1771634819" sldId="2147483761"/>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1769557865" sldId="2147483762"/>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1922011008" sldId="2147483763"/>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2061291665" sldId="2147483764"/>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1948563203" sldId="2147483765"/>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207818418" sldId="2147483766"/>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1660116453" sldId="2147483767"/>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3135222520" sldId="2147483768"/>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3496458966" sldId="2147483769"/>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2943383869" sldId="2147483770"/>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811287824" sldId="2147483771"/>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651958931" sldId="2147483772"/>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1733369483" sldId="2147483773"/>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387823529" sldId="2147483774"/>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1267157199" sldId="2147483775"/>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3638395197" sldId="2147483776"/>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3713114752" sldId="2147483777"/>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345040616" sldId="2147483778"/>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3223177424" sldId="2147483779"/>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701858751" sldId="2147483780"/>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3763394342" sldId="2147483781"/>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3801281326" sldId="2147483782"/>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1283972580" sldId="2147483783"/>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1040151528" sldId="2147483784"/>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3331870370" sldId="2147483785"/>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3322397058" sldId="2147483786"/>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3908496552" sldId="2147483787"/>
          </pc:sldLayoutMkLst>
        </pc:sldLayoutChg>
        <pc:sldLayoutChg chg="del">
          <pc:chgData name="Filipe Moreira" userId="fa9bf1d2-47eb-439d-b2f4-ca03a48a6bbf" providerId="ADAL" clId="{73E20F0B-4CFC-4D3F-B9AF-F751BD023C30}" dt="2020-06-29T09:02:38.070" v="4781" actId="47"/>
          <pc:sldLayoutMkLst>
            <pc:docMk/>
            <pc:sldMasterMk cId="219657942" sldId="2147483744"/>
            <pc:sldLayoutMk cId="1821065615" sldId="2147483788"/>
          </pc:sldLayoutMkLst>
        </pc:sldLayoutChg>
      </pc:sldMasterChg>
    </pc:docChg>
  </pc:docChgLst>
</pc:chgInfo>
</file>

<file path=ppt/diagrams/_rels/data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image" Target="../media/image12.png"/></Relationships>
</file>

<file path=ppt/diagrams/_rels/data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svg"/><Relationship Id="rId1" Type="http://schemas.openxmlformats.org/officeDocument/2006/relationships/image" Target="../media/image34.png"/><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diagrams/_rels/data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svg"/><Relationship Id="rId1" Type="http://schemas.openxmlformats.org/officeDocument/2006/relationships/image" Target="../media/image40.png"/><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diagrams/_rels/data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svg"/><Relationship Id="rId1" Type="http://schemas.openxmlformats.org/officeDocument/2006/relationships/image" Target="../media/image46.png"/><Relationship Id="rId4" Type="http://schemas.openxmlformats.org/officeDocument/2006/relationships/image" Target="../media/image49.svg"/></Relationships>
</file>

<file path=ppt/diagrams/_rels/data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svg"/><Relationship Id="rId1" Type="http://schemas.openxmlformats.org/officeDocument/2006/relationships/image" Target="../media/image50.png"/><Relationship Id="rId4" Type="http://schemas.openxmlformats.org/officeDocument/2006/relationships/image" Target="../media/image53.svg"/></Relationships>
</file>

<file path=ppt/diagrams/_rels/data15.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image" Target="../media/image55.svg"/><Relationship Id="rId1" Type="http://schemas.openxmlformats.org/officeDocument/2006/relationships/image" Target="../media/image54.png"/><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7.svg"/></Relationships>
</file>

<file path=ppt/diagrams/_rels/data1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svg"/><Relationship Id="rId1" Type="http://schemas.openxmlformats.org/officeDocument/2006/relationships/image" Target="../media/image62.png"/><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65.svg"/></Relationships>
</file>

<file path=ppt/diagrams/_rels/data1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svg"/><Relationship Id="rId1" Type="http://schemas.openxmlformats.org/officeDocument/2006/relationships/image" Target="../media/image68.png"/><Relationship Id="rId4" Type="http://schemas.openxmlformats.org/officeDocument/2006/relationships/image" Target="../media/image71.svg"/></Relationships>
</file>

<file path=ppt/diagrams/_rels/data1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svg"/><Relationship Id="rId1" Type="http://schemas.openxmlformats.org/officeDocument/2006/relationships/image" Target="../media/image72.png"/><Relationship Id="rId4" Type="http://schemas.openxmlformats.org/officeDocument/2006/relationships/image" Target="../media/image75.svg"/></Relationships>
</file>

<file path=ppt/diagrams/_rels/data19.xml.rels><?xml version="1.0" encoding="UTF-8" standalone="yes"?>
<Relationships xmlns="http://schemas.openxmlformats.org/package/2006/relationships"><Relationship Id="rId2" Type="http://schemas.openxmlformats.org/officeDocument/2006/relationships/image" Target="../media/image77.svg"/><Relationship Id="rId1" Type="http://schemas.openxmlformats.org/officeDocument/2006/relationships/image" Target="../media/image76.png"/></Relationships>
</file>

<file path=ppt/diagrams/_rels/data2.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image" Target="../media/image15.svg"/><Relationship Id="rId1" Type="http://schemas.openxmlformats.org/officeDocument/2006/relationships/image" Target="../media/image14.png"/><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s>
</file>

<file path=ppt/diagrams/_rels/data20.xml.rels><?xml version="1.0" encoding="UTF-8" standalone="yes"?>
<Relationships xmlns="http://schemas.openxmlformats.org/package/2006/relationships"><Relationship Id="rId2" Type="http://schemas.openxmlformats.org/officeDocument/2006/relationships/image" Target="../media/image79.svg"/><Relationship Id="rId1" Type="http://schemas.openxmlformats.org/officeDocument/2006/relationships/image" Target="../media/image78.png"/></Relationships>
</file>

<file path=ppt/diagrams/_rels/data21.xml.rels><?xml version="1.0" encoding="UTF-8" standalone="yes"?>
<Relationships xmlns="http://schemas.openxmlformats.org/package/2006/relationships"><Relationship Id="rId2" Type="http://schemas.openxmlformats.org/officeDocument/2006/relationships/image" Target="../media/image81.svg"/><Relationship Id="rId1" Type="http://schemas.openxmlformats.org/officeDocument/2006/relationships/image" Target="../media/image80.png"/></Relationships>
</file>

<file path=ppt/diagrams/_rels/data22.xml.rels><?xml version="1.0" encoding="UTF-8" standalone="yes"?>
<Relationships xmlns="http://schemas.openxmlformats.org/package/2006/relationships"><Relationship Id="rId2" Type="http://schemas.openxmlformats.org/officeDocument/2006/relationships/image" Target="../media/image83.svg"/><Relationship Id="rId1" Type="http://schemas.openxmlformats.org/officeDocument/2006/relationships/image" Target="../media/image82.png"/></Relationships>
</file>

<file path=ppt/diagrams/_rels/data23.xml.rels><?xml version="1.0" encoding="UTF-8" standalone="yes"?>
<Relationships xmlns="http://schemas.openxmlformats.org/package/2006/relationships"><Relationship Id="rId2" Type="http://schemas.openxmlformats.org/officeDocument/2006/relationships/image" Target="../media/image85.svg"/><Relationship Id="rId1" Type="http://schemas.openxmlformats.org/officeDocument/2006/relationships/image" Target="../media/image84.png"/></Relationships>
</file>

<file path=ppt/diagrams/_rels/data3.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image" Target="../media/image14.png"/></Relationships>
</file>

<file path=ppt/diagrams/_rels/data4.xml.rels><?xml version="1.0" encoding="UTF-8" standalone="yes"?>
<Relationships xmlns="http://schemas.openxmlformats.org/package/2006/relationships"><Relationship Id="rId2" Type="http://schemas.openxmlformats.org/officeDocument/2006/relationships/image" Target="../media/image29.svg"/><Relationship Id="rId1" Type="http://schemas.openxmlformats.org/officeDocument/2006/relationships/image" Target="../media/image16.png"/></Relationships>
</file>

<file path=ppt/diagrams/_rels/data5.xml.rels><?xml version="1.0" encoding="UTF-8" standalone="yes"?>
<Relationships xmlns="http://schemas.openxmlformats.org/package/2006/relationships"><Relationship Id="rId2" Type="http://schemas.openxmlformats.org/officeDocument/2006/relationships/image" Target="../media/image30.svg"/><Relationship Id="rId1" Type="http://schemas.openxmlformats.org/officeDocument/2006/relationships/image" Target="../media/image18.png"/></Relationships>
</file>

<file path=ppt/diagrams/_rels/data6.xml.rels><?xml version="1.0" encoding="UTF-8" standalone="yes"?>
<Relationships xmlns="http://schemas.openxmlformats.org/package/2006/relationships"><Relationship Id="rId2" Type="http://schemas.openxmlformats.org/officeDocument/2006/relationships/image" Target="../media/image31.svg"/><Relationship Id="rId1" Type="http://schemas.openxmlformats.org/officeDocument/2006/relationships/image" Target="../media/image20.png"/></Relationships>
</file>

<file path=ppt/diagrams/_rels/data7.xml.rels><?xml version="1.0" encoding="UTF-8" standalone="yes"?>
<Relationships xmlns="http://schemas.openxmlformats.org/package/2006/relationships"><Relationship Id="rId2" Type="http://schemas.openxmlformats.org/officeDocument/2006/relationships/image" Target="../media/image32.svg"/><Relationship Id="rId1" Type="http://schemas.openxmlformats.org/officeDocument/2006/relationships/image" Target="../media/image22.png"/></Relationships>
</file>

<file path=ppt/diagrams/_rels/data8.xml.rels><?xml version="1.0" encoding="UTF-8" standalone="yes"?>
<Relationships xmlns="http://schemas.openxmlformats.org/package/2006/relationships"><Relationship Id="rId2" Type="http://schemas.openxmlformats.org/officeDocument/2006/relationships/image" Target="../media/image33.svg"/><Relationship Id="rId1" Type="http://schemas.openxmlformats.org/officeDocument/2006/relationships/image" Target="../media/image24.png"/></Relationships>
</file>

<file path=ppt/diagrams/_rels/drawing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image" Target="../media/image12.png"/></Relationships>
</file>

<file path=ppt/diagrams/_rels/drawing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svg"/><Relationship Id="rId1" Type="http://schemas.openxmlformats.org/officeDocument/2006/relationships/image" Target="../media/image34.png"/><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diagrams/_rels/drawing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svg"/><Relationship Id="rId1" Type="http://schemas.openxmlformats.org/officeDocument/2006/relationships/image" Target="../media/image40.png"/><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diagrams/_rels/drawing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svg"/><Relationship Id="rId1" Type="http://schemas.openxmlformats.org/officeDocument/2006/relationships/image" Target="../media/image46.png"/><Relationship Id="rId4" Type="http://schemas.openxmlformats.org/officeDocument/2006/relationships/image" Target="../media/image49.svg"/></Relationships>
</file>

<file path=ppt/diagrams/_rels/drawing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svg"/><Relationship Id="rId1" Type="http://schemas.openxmlformats.org/officeDocument/2006/relationships/image" Target="../media/image50.png"/><Relationship Id="rId4" Type="http://schemas.openxmlformats.org/officeDocument/2006/relationships/image" Target="../media/image53.svg"/></Relationships>
</file>

<file path=ppt/diagrams/_rels/drawing15.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image" Target="../media/image55.svg"/><Relationship Id="rId1" Type="http://schemas.openxmlformats.org/officeDocument/2006/relationships/image" Target="../media/image54.png"/><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7.svg"/></Relationships>
</file>

<file path=ppt/diagrams/_rels/drawing1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svg"/><Relationship Id="rId1" Type="http://schemas.openxmlformats.org/officeDocument/2006/relationships/image" Target="../media/image62.png"/><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65.svg"/></Relationships>
</file>

<file path=ppt/diagrams/_rels/drawing1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svg"/><Relationship Id="rId1" Type="http://schemas.openxmlformats.org/officeDocument/2006/relationships/image" Target="../media/image68.png"/><Relationship Id="rId4" Type="http://schemas.openxmlformats.org/officeDocument/2006/relationships/image" Target="../media/image71.svg"/></Relationships>
</file>

<file path=ppt/diagrams/_rels/drawing1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svg"/><Relationship Id="rId1" Type="http://schemas.openxmlformats.org/officeDocument/2006/relationships/image" Target="../media/image72.png"/><Relationship Id="rId4" Type="http://schemas.openxmlformats.org/officeDocument/2006/relationships/image" Target="../media/image75.svg"/></Relationships>
</file>

<file path=ppt/diagrams/_rels/drawing19.xml.rels><?xml version="1.0" encoding="UTF-8" standalone="yes"?>
<Relationships xmlns="http://schemas.openxmlformats.org/package/2006/relationships"><Relationship Id="rId2" Type="http://schemas.openxmlformats.org/officeDocument/2006/relationships/image" Target="../media/image77.svg"/><Relationship Id="rId1" Type="http://schemas.openxmlformats.org/officeDocument/2006/relationships/image" Target="../media/image76.png"/></Relationships>
</file>

<file path=ppt/diagrams/_rels/drawing2.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image" Target="../media/image15.svg"/><Relationship Id="rId1" Type="http://schemas.openxmlformats.org/officeDocument/2006/relationships/image" Target="../media/image14.png"/><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s>
</file>

<file path=ppt/diagrams/_rels/drawing20.xml.rels><?xml version="1.0" encoding="UTF-8" standalone="yes"?>
<Relationships xmlns="http://schemas.openxmlformats.org/package/2006/relationships"><Relationship Id="rId2" Type="http://schemas.openxmlformats.org/officeDocument/2006/relationships/image" Target="../media/image79.svg"/><Relationship Id="rId1" Type="http://schemas.openxmlformats.org/officeDocument/2006/relationships/image" Target="../media/image78.png"/></Relationships>
</file>

<file path=ppt/diagrams/_rels/drawing21.xml.rels><?xml version="1.0" encoding="UTF-8" standalone="yes"?>
<Relationships xmlns="http://schemas.openxmlformats.org/package/2006/relationships"><Relationship Id="rId2" Type="http://schemas.openxmlformats.org/officeDocument/2006/relationships/image" Target="../media/image81.svg"/><Relationship Id="rId1" Type="http://schemas.openxmlformats.org/officeDocument/2006/relationships/image" Target="../media/image80.png"/></Relationships>
</file>

<file path=ppt/diagrams/_rels/drawing22.xml.rels><?xml version="1.0" encoding="UTF-8" standalone="yes"?>
<Relationships xmlns="http://schemas.openxmlformats.org/package/2006/relationships"><Relationship Id="rId2" Type="http://schemas.openxmlformats.org/officeDocument/2006/relationships/image" Target="../media/image83.svg"/><Relationship Id="rId1" Type="http://schemas.openxmlformats.org/officeDocument/2006/relationships/image" Target="../media/image82.png"/></Relationships>
</file>

<file path=ppt/diagrams/_rels/drawing23.xml.rels><?xml version="1.0" encoding="UTF-8" standalone="yes"?>
<Relationships xmlns="http://schemas.openxmlformats.org/package/2006/relationships"><Relationship Id="rId2" Type="http://schemas.openxmlformats.org/officeDocument/2006/relationships/image" Target="../media/image85.svg"/><Relationship Id="rId1" Type="http://schemas.openxmlformats.org/officeDocument/2006/relationships/image" Target="../media/image84.png"/></Relationships>
</file>

<file path=ppt/diagrams/_rels/drawing3.xml.rels><?xml version="1.0" encoding="UTF-8" standalone="yes"?>
<Relationships xmlns="http://schemas.openxmlformats.org/package/2006/relationships"><Relationship Id="rId2" Type="http://schemas.openxmlformats.org/officeDocument/2006/relationships/image" Target="../media/image28.svg"/><Relationship Id="rId1" Type="http://schemas.openxmlformats.org/officeDocument/2006/relationships/image" Target="../media/image14.png"/></Relationships>
</file>

<file path=ppt/diagrams/_rels/drawing4.xml.rels><?xml version="1.0" encoding="UTF-8" standalone="yes"?>
<Relationships xmlns="http://schemas.openxmlformats.org/package/2006/relationships"><Relationship Id="rId2" Type="http://schemas.openxmlformats.org/officeDocument/2006/relationships/image" Target="../media/image29.svg"/><Relationship Id="rId1" Type="http://schemas.openxmlformats.org/officeDocument/2006/relationships/image" Target="../media/image16.png"/></Relationships>
</file>

<file path=ppt/diagrams/_rels/drawing5.xml.rels><?xml version="1.0" encoding="UTF-8" standalone="yes"?>
<Relationships xmlns="http://schemas.openxmlformats.org/package/2006/relationships"><Relationship Id="rId2" Type="http://schemas.openxmlformats.org/officeDocument/2006/relationships/image" Target="../media/image30.svg"/><Relationship Id="rId1" Type="http://schemas.openxmlformats.org/officeDocument/2006/relationships/image" Target="../media/image18.png"/></Relationships>
</file>

<file path=ppt/diagrams/_rels/drawing6.xml.rels><?xml version="1.0" encoding="UTF-8" standalone="yes"?>
<Relationships xmlns="http://schemas.openxmlformats.org/package/2006/relationships"><Relationship Id="rId2" Type="http://schemas.openxmlformats.org/officeDocument/2006/relationships/image" Target="../media/image31.svg"/><Relationship Id="rId1" Type="http://schemas.openxmlformats.org/officeDocument/2006/relationships/image" Target="../media/image20.png"/></Relationships>
</file>

<file path=ppt/diagrams/_rels/drawing7.xml.rels><?xml version="1.0" encoding="UTF-8" standalone="yes"?>
<Relationships xmlns="http://schemas.openxmlformats.org/package/2006/relationships"><Relationship Id="rId2" Type="http://schemas.openxmlformats.org/officeDocument/2006/relationships/image" Target="../media/image32.svg"/><Relationship Id="rId1" Type="http://schemas.openxmlformats.org/officeDocument/2006/relationships/image" Target="../media/image22.png"/></Relationships>
</file>

<file path=ppt/diagrams/_rels/drawing8.xml.rels><?xml version="1.0" encoding="UTF-8" standalone="yes"?>
<Relationships xmlns="http://schemas.openxmlformats.org/package/2006/relationships"><Relationship Id="rId2" Type="http://schemas.openxmlformats.org/officeDocument/2006/relationships/image" Target="../media/image33.svg"/><Relationship Id="rId1" Type="http://schemas.openxmlformats.org/officeDocument/2006/relationships/image" Target="../media/image24.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F22971-1D80-4164-A497-E26B1CE6A70F}" type="doc">
      <dgm:prSet loTypeId="urn:microsoft.com/office/officeart/2008/layout/BendingPictureCaption" loCatId="picture" qsTypeId="urn:microsoft.com/office/officeart/2005/8/quickstyle/simple1" qsCatId="simple" csTypeId="urn:microsoft.com/office/officeart/2005/8/colors/accent2_2" csCatId="accent2" phldr="1"/>
      <dgm:spPr/>
      <dgm:t>
        <a:bodyPr/>
        <a:lstStyle/>
        <a:p>
          <a:endParaRPr lang="en-US"/>
        </a:p>
      </dgm:t>
    </dgm:pt>
    <dgm:pt modelId="{43E343C8-B98D-43EC-B809-4BB9D16578F6}">
      <dgm:prSet/>
      <dgm:spPr>
        <a:effectLst>
          <a:reflection blurRad="6350" stA="50000" endA="275" endPos="40000" dist="101600" dir="5400000" sy="-100000" algn="bl" rotWithShape="0"/>
        </a:effectLst>
        <a:scene3d>
          <a:camera prst="orthographicFront"/>
          <a:lightRig rig="threePt" dir="t"/>
        </a:scene3d>
        <a:sp3d>
          <a:bevelT prst="angle"/>
        </a:sp3d>
      </dgm:spPr>
      <dgm:t>
        <a:bodyPr/>
        <a:lstStyle/>
        <a:p>
          <a:r>
            <a:rPr lang="en-US" dirty="0"/>
            <a:t>ELT</a:t>
          </a:r>
        </a:p>
      </dgm:t>
    </dgm:pt>
    <dgm:pt modelId="{77CA9727-1775-464B-99A7-9B888C97073C}" type="parTrans" cxnId="{2DBE34E8-35B6-4D0F-89C5-34F9BD3B8AA6}">
      <dgm:prSet/>
      <dgm:spPr/>
      <dgm:t>
        <a:bodyPr/>
        <a:lstStyle/>
        <a:p>
          <a:endParaRPr lang="en-US"/>
        </a:p>
      </dgm:t>
    </dgm:pt>
    <dgm:pt modelId="{6C5C623D-F71D-4A41-BDBF-5B52D82FE29E}" type="sibTrans" cxnId="{2DBE34E8-35B6-4D0F-89C5-34F9BD3B8AA6}">
      <dgm:prSet/>
      <dgm:spPr/>
      <dgm:t>
        <a:bodyPr/>
        <a:lstStyle/>
        <a:p>
          <a:endParaRPr lang="en-US"/>
        </a:p>
      </dgm:t>
    </dgm:pt>
    <dgm:pt modelId="{88401961-C16E-4004-BBC1-EF9B95A2F202}">
      <dgm:prSet/>
      <dgm:spPr>
        <a:effectLst>
          <a:reflection blurRad="6350" stA="50000" endA="275" endPos="40000" dist="101600" dir="5400000" sy="-100000" algn="bl" rotWithShape="0"/>
        </a:effectLst>
        <a:scene3d>
          <a:camera prst="orthographicFront"/>
          <a:lightRig rig="threePt" dir="t"/>
        </a:scene3d>
        <a:sp3d>
          <a:bevelT prst="angle"/>
        </a:sp3d>
      </dgm:spPr>
      <dgm:t>
        <a:bodyPr/>
        <a:lstStyle/>
        <a:p>
          <a:r>
            <a:rPr lang="en-US" dirty="0"/>
            <a:t>ETL</a:t>
          </a:r>
        </a:p>
      </dgm:t>
    </dgm:pt>
    <dgm:pt modelId="{737CABF2-0C43-46AA-B382-F209EE490376}" type="parTrans" cxnId="{3BA68759-C5C1-4442-A8CE-B70C19F51D44}">
      <dgm:prSet/>
      <dgm:spPr/>
      <dgm:t>
        <a:bodyPr/>
        <a:lstStyle/>
        <a:p>
          <a:endParaRPr lang="en-US"/>
        </a:p>
      </dgm:t>
    </dgm:pt>
    <dgm:pt modelId="{D6E7B3EC-37A7-4035-8432-21F648D8A2E6}" type="sibTrans" cxnId="{3BA68759-C5C1-4442-A8CE-B70C19F51D44}">
      <dgm:prSet/>
      <dgm:spPr/>
      <dgm:t>
        <a:bodyPr/>
        <a:lstStyle/>
        <a:p>
          <a:endParaRPr lang="en-US"/>
        </a:p>
      </dgm:t>
    </dgm:pt>
    <dgm:pt modelId="{8AA8E465-4F9C-4053-9F90-2DE85F982AFF}" type="pres">
      <dgm:prSet presAssocID="{DEF22971-1D80-4164-A497-E26B1CE6A70F}" presName="diagram" presStyleCnt="0">
        <dgm:presLayoutVars>
          <dgm:dir/>
        </dgm:presLayoutVars>
      </dgm:prSet>
      <dgm:spPr/>
    </dgm:pt>
    <dgm:pt modelId="{A78FE4A0-B4A5-4A2A-A717-F67A9D11E6CF}" type="pres">
      <dgm:prSet presAssocID="{43E343C8-B98D-43EC-B809-4BB9D16578F6}" presName="composite" presStyleCnt="0"/>
      <dgm:spPr/>
    </dgm:pt>
    <dgm:pt modelId="{ADC35582-902E-42C4-B0FD-DD5F1CBF6483}" type="pres">
      <dgm:prSet presAssocID="{43E343C8-B98D-43EC-B809-4BB9D16578F6}" presName="Image" presStyleLbl="bgShp" presStyleIdx="0" presStyleCnt="2"/>
      <dgm: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l="454" t="17135" r="454" b="17135"/>
          </a:stretch>
        </a:blipFill>
      </dgm:spPr>
    </dgm:pt>
    <dgm:pt modelId="{EFCF1840-0DA0-40EE-A31F-EACB40CCDC3F}" type="pres">
      <dgm:prSet presAssocID="{43E343C8-B98D-43EC-B809-4BB9D16578F6}" presName="Parent" presStyleLbl="node0" presStyleIdx="0" presStyleCnt="2">
        <dgm:presLayoutVars>
          <dgm:bulletEnabled val="1"/>
        </dgm:presLayoutVars>
      </dgm:prSet>
      <dgm:spPr/>
    </dgm:pt>
    <dgm:pt modelId="{429D17D0-6D56-48A1-B344-E96BE8AE564C}" type="pres">
      <dgm:prSet presAssocID="{6C5C623D-F71D-4A41-BDBF-5B52D82FE29E}" presName="sibTrans" presStyleCnt="0"/>
      <dgm:spPr/>
    </dgm:pt>
    <dgm:pt modelId="{19EC5DD5-11B5-4AED-A78E-D2CD8E1C99C9}" type="pres">
      <dgm:prSet presAssocID="{88401961-C16E-4004-BBC1-EF9B95A2F202}" presName="composite" presStyleCnt="0"/>
      <dgm:spPr/>
    </dgm:pt>
    <dgm:pt modelId="{C43D8AEC-8C80-41A3-9CDA-5BE8A289FE3C}" type="pres">
      <dgm:prSet presAssocID="{88401961-C16E-4004-BBC1-EF9B95A2F202}" presName="Image" presStyleLbl="bgShp" presStyleIdx="1" presStyleCnt="2"/>
      <dgm: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l="454" t="17135" r="454" b="17135"/>
          </a:stretch>
        </a:blipFill>
      </dgm:spPr>
    </dgm:pt>
    <dgm:pt modelId="{77AE656D-904D-49F7-B8BA-D7214BE87E14}" type="pres">
      <dgm:prSet presAssocID="{88401961-C16E-4004-BBC1-EF9B95A2F202}" presName="Parent" presStyleLbl="node0" presStyleIdx="1" presStyleCnt="2">
        <dgm:presLayoutVars>
          <dgm:bulletEnabled val="1"/>
        </dgm:presLayoutVars>
      </dgm:prSet>
      <dgm:spPr/>
    </dgm:pt>
  </dgm:ptLst>
  <dgm:cxnLst>
    <dgm:cxn modelId="{5DB54E09-5737-4EDC-A6F2-5967FFE68A4C}" type="presOf" srcId="{DEF22971-1D80-4164-A497-E26B1CE6A70F}" destId="{8AA8E465-4F9C-4053-9F90-2DE85F982AFF}" srcOrd="0" destOrd="0" presId="urn:microsoft.com/office/officeart/2008/layout/BendingPictureCaption"/>
    <dgm:cxn modelId="{EE0F7A15-A8FD-4DBC-A8E8-91927D85783F}" type="presOf" srcId="{88401961-C16E-4004-BBC1-EF9B95A2F202}" destId="{77AE656D-904D-49F7-B8BA-D7214BE87E14}" srcOrd="0" destOrd="0" presId="urn:microsoft.com/office/officeart/2008/layout/BendingPictureCaption"/>
    <dgm:cxn modelId="{3BA68759-C5C1-4442-A8CE-B70C19F51D44}" srcId="{DEF22971-1D80-4164-A497-E26B1CE6A70F}" destId="{88401961-C16E-4004-BBC1-EF9B95A2F202}" srcOrd="1" destOrd="0" parTransId="{737CABF2-0C43-46AA-B382-F209EE490376}" sibTransId="{D6E7B3EC-37A7-4035-8432-21F648D8A2E6}"/>
    <dgm:cxn modelId="{8B5B1E9F-AFF6-4042-BD73-14F57DE1476A}" type="presOf" srcId="{43E343C8-B98D-43EC-B809-4BB9D16578F6}" destId="{EFCF1840-0DA0-40EE-A31F-EACB40CCDC3F}" srcOrd="0" destOrd="0" presId="urn:microsoft.com/office/officeart/2008/layout/BendingPictureCaption"/>
    <dgm:cxn modelId="{2DBE34E8-35B6-4D0F-89C5-34F9BD3B8AA6}" srcId="{DEF22971-1D80-4164-A497-E26B1CE6A70F}" destId="{43E343C8-B98D-43EC-B809-4BB9D16578F6}" srcOrd="0" destOrd="0" parTransId="{77CA9727-1775-464B-99A7-9B888C97073C}" sibTransId="{6C5C623D-F71D-4A41-BDBF-5B52D82FE29E}"/>
    <dgm:cxn modelId="{CCC8AEAC-8D2E-4D75-A53C-3E488D7A5B27}" type="presParOf" srcId="{8AA8E465-4F9C-4053-9F90-2DE85F982AFF}" destId="{A78FE4A0-B4A5-4A2A-A717-F67A9D11E6CF}" srcOrd="0" destOrd="0" presId="urn:microsoft.com/office/officeart/2008/layout/BendingPictureCaption"/>
    <dgm:cxn modelId="{A83C6D63-0E8C-48EE-A552-366C253AF37C}" type="presParOf" srcId="{A78FE4A0-B4A5-4A2A-A717-F67A9D11E6CF}" destId="{ADC35582-902E-42C4-B0FD-DD5F1CBF6483}" srcOrd="0" destOrd="0" presId="urn:microsoft.com/office/officeart/2008/layout/BendingPictureCaption"/>
    <dgm:cxn modelId="{D95AD187-6DC3-4563-96D6-5E7AA8E4653B}" type="presParOf" srcId="{A78FE4A0-B4A5-4A2A-A717-F67A9D11E6CF}" destId="{EFCF1840-0DA0-40EE-A31F-EACB40CCDC3F}" srcOrd="1" destOrd="0" presId="urn:microsoft.com/office/officeart/2008/layout/BendingPictureCaption"/>
    <dgm:cxn modelId="{158B04A6-6A03-494C-A54A-AA5FD84F1C1F}" type="presParOf" srcId="{8AA8E465-4F9C-4053-9F90-2DE85F982AFF}" destId="{429D17D0-6D56-48A1-B344-E96BE8AE564C}" srcOrd="1" destOrd="0" presId="urn:microsoft.com/office/officeart/2008/layout/BendingPictureCaption"/>
    <dgm:cxn modelId="{CB7F7CA8-CA71-47D7-94E2-9496C6CF42D4}" type="presParOf" srcId="{8AA8E465-4F9C-4053-9F90-2DE85F982AFF}" destId="{19EC5DD5-11B5-4AED-A78E-D2CD8E1C99C9}" srcOrd="2" destOrd="0" presId="urn:microsoft.com/office/officeart/2008/layout/BendingPictureCaption"/>
    <dgm:cxn modelId="{EB5CB59A-AEFE-4E88-97C5-06E2FB30AF3D}" type="presParOf" srcId="{19EC5DD5-11B5-4AED-A78E-D2CD8E1C99C9}" destId="{C43D8AEC-8C80-41A3-9CDA-5BE8A289FE3C}" srcOrd="0" destOrd="0" presId="urn:microsoft.com/office/officeart/2008/layout/BendingPictureCaption"/>
    <dgm:cxn modelId="{E1AE3EA4-31C2-414C-AD3C-84C308F6BF6C}" type="presParOf" srcId="{19EC5DD5-11B5-4AED-A78E-D2CD8E1C99C9}" destId="{77AE656D-904D-49F7-B8BA-D7214BE87E14}" srcOrd="1" destOrd="0" presId="urn:microsoft.com/office/officeart/2008/layout/BendingPictureCapti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985183A-17AC-4A94-8AF8-C3EE02C7FEAF}" type="doc">
      <dgm:prSet loTypeId="urn:microsoft.com/office/officeart/2018/5/layout/IconCircleLabelList" loCatId="icon" qsTypeId="urn:microsoft.com/office/officeart/2005/8/quickstyle/simple1" qsCatId="simple" csTypeId="urn:microsoft.com/office/officeart/2005/8/colors/accent1_2" csCatId="accent1" phldr="1"/>
      <dgm:spPr/>
      <dgm:t>
        <a:bodyPr/>
        <a:lstStyle/>
        <a:p>
          <a:endParaRPr lang="en-US"/>
        </a:p>
      </dgm:t>
    </dgm:pt>
    <dgm:pt modelId="{88F21687-CBB2-4F34-AD57-5451A4CCDEBC}">
      <dgm:prSet/>
      <dgm:spPr/>
      <dgm:t>
        <a:bodyPr/>
        <a:lstStyle/>
        <a:p>
          <a:pPr>
            <a:lnSpc>
              <a:spcPct val="100000"/>
            </a:lnSpc>
            <a:defRPr cap="all"/>
          </a:pPr>
          <a:r>
            <a:rPr lang="en-US" dirty="0"/>
            <a:t>Minimize Latency</a:t>
          </a:r>
        </a:p>
      </dgm:t>
    </dgm:pt>
    <dgm:pt modelId="{52235E93-5DFD-4C36-9951-72E311EEDDBB}" type="parTrans" cxnId="{F9970275-12AA-4267-808D-1AABCAD30086}">
      <dgm:prSet/>
      <dgm:spPr/>
      <dgm:t>
        <a:bodyPr/>
        <a:lstStyle/>
        <a:p>
          <a:endParaRPr lang="en-US"/>
        </a:p>
      </dgm:t>
    </dgm:pt>
    <dgm:pt modelId="{FBF1A830-5AD6-45E1-B3A4-7FC4A6F057C7}" type="sibTrans" cxnId="{F9970275-12AA-4267-808D-1AABCAD30086}">
      <dgm:prSet/>
      <dgm:spPr/>
      <dgm:t>
        <a:bodyPr/>
        <a:lstStyle/>
        <a:p>
          <a:endParaRPr lang="en-US"/>
        </a:p>
      </dgm:t>
    </dgm:pt>
    <dgm:pt modelId="{113AFE13-C34A-4E2D-9102-62D3282EBB42}">
      <dgm:prSet/>
      <dgm:spPr/>
      <dgm:t>
        <a:bodyPr/>
        <a:lstStyle/>
        <a:p>
          <a:pPr>
            <a:lnSpc>
              <a:spcPct val="100000"/>
            </a:lnSpc>
            <a:defRPr cap="all"/>
          </a:pPr>
          <a:r>
            <a:rPr lang="en-US" dirty="0"/>
            <a:t>Load using Compressed Files</a:t>
          </a:r>
        </a:p>
      </dgm:t>
    </dgm:pt>
    <dgm:pt modelId="{A58B1CD0-0798-4DB9-B704-5C387C79AA28}" type="parTrans" cxnId="{BF3BE9B4-912B-4F83-9FA2-C2A2234C6C6E}">
      <dgm:prSet/>
      <dgm:spPr/>
      <dgm:t>
        <a:bodyPr/>
        <a:lstStyle/>
        <a:p>
          <a:endParaRPr lang="en-US"/>
        </a:p>
      </dgm:t>
    </dgm:pt>
    <dgm:pt modelId="{F059768E-BE00-4182-93E9-B2D4E51F3DA8}" type="sibTrans" cxnId="{BF3BE9B4-912B-4F83-9FA2-C2A2234C6C6E}">
      <dgm:prSet/>
      <dgm:spPr/>
      <dgm:t>
        <a:bodyPr/>
        <a:lstStyle/>
        <a:p>
          <a:endParaRPr lang="en-US"/>
        </a:p>
      </dgm:t>
    </dgm:pt>
    <dgm:pt modelId="{F5EBDA1E-81F9-4BFD-A983-91225366C042}">
      <dgm:prSet/>
      <dgm:spPr/>
      <dgm:t>
        <a:bodyPr/>
        <a:lstStyle/>
        <a:p>
          <a:pPr>
            <a:lnSpc>
              <a:spcPct val="100000"/>
            </a:lnSpc>
            <a:defRPr cap="all"/>
          </a:pPr>
          <a:r>
            <a:rPr lang="en-US" dirty="0"/>
            <a:t>Split Large Files Matching Readers</a:t>
          </a:r>
        </a:p>
      </dgm:t>
    </dgm:pt>
    <dgm:pt modelId="{ABDCEB1C-E1F5-491B-B53A-D932B36010C7}" type="parTrans" cxnId="{22939877-327F-43B0-906A-EC65701655A5}">
      <dgm:prSet/>
      <dgm:spPr/>
      <dgm:t>
        <a:bodyPr/>
        <a:lstStyle/>
        <a:p>
          <a:endParaRPr lang="en-US"/>
        </a:p>
      </dgm:t>
    </dgm:pt>
    <dgm:pt modelId="{76F4DE92-3394-4230-AC4C-DE92C0B8FDA9}" type="sibTrans" cxnId="{22939877-327F-43B0-906A-EC65701655A5}">
      <dgm:prSet/>
      <dgm:spPr/>
      <dgm:t>
        <a:bodyPr/>
        <a:lstStyle/>
        <a:p>
          <a:endParaRPr lang="en-US"/>
        </a:p>
      </dgm:t>
    </dgm:pt>
    <dgm:pt modelId="{137255C3-A33F-431D-A07D-3CE8B693E6DB}" type="pres">
      <dgm:prSet presAssocID="{6985183A-17AC-4A94-8AF8-C3EE02C7FEAF}" presName="root" presStyleCnt="0">
        <dgm:presLayoutVars>
          <dgm:dir/>
          <dgm:resizeHandles val="exact"/>
        </dgm:presLayoutVars>
      </dgm:prSet>
      <dgm:spPr/>
    </dgm:pt>
    <dgm:pt modelId="{FDCE8300-2F33-4C63-8861-3D7471C3DE06}" type="pres">
      <dgm:prSet presAssocID="{88F21687-CBB2-4F34-AD57-5451A4CCDEBC}" presName="compNode" presStyleCnt="0"/>
      <dgm:spPr/>
    </dgm:pt>
    <dgm:pt modelId="{4116410C-7FB7-415F-8FBE-33AC94BC4800}" type="pres">
      <dgm:prSet presAssocID="{88F21687-CBB2-4F34-AD57-5451A4CCDEBC}" presName="iconBgRect" presStyleLbl="bgShp" presStyleIdx="0" presStyleCnt="3"/>
      <dgm:spPr/>
    </dgm:pt>
    <dgm:pt modelId="{35C37234-FAF9-43C2-92C9-03D873CF52A4}" type="pres">
      <dgm:prSet presAssocID="{88F21687-CBB2-4F34-AD57-5451A4CCDEBC}"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Hourglass Finished with solid fill"/>
        </a:ext>
      </dgm:extLst>
    </dgm:pt>
    <dgm:pt modelId="{24C8BC26-CAD7-44D6-A490-80F39144ACE4}" type="pres">
      <dgm:prSet presAssocID="{88F21687-CBB2-4F34-AD57-5451A4CCDEBC}" presName="spaceRect" presStyleCnt="0"/>
      <dgm:spPr/>
    </dgm:pt>
    <dgm:pt modelId="{BF96DFAC-1159-41F4-8348-BF1D5C49968E}" type="pres">
      <dgm:prSet presAssocID="{88F21687-CBB2-4F34-AD57-5451A4CCDEBC}" presName="textRect" presStyleLbl="revTx" presStyleIdx="0" presStyleCnt="3">
        <dgm:presLayoutVars>
          <dgm:chMax val="1"/>
          <dgm:chPref val="1"/>
        </dgm:presLayoutVars>
      </dgm:prSet>
      <dgm:spPr/>
    </dgm:pt>
    <dgm:pt modelId="{D3715989-AF90-4FA0-83A4-165DBC6E2B41}" type="pres">
      <dgm:prSet presAssocID="{FBF1A830-5AD6-45E1-B3A4-7FC4A6F057C7}" presName="sibTrans" presStyleCnt="0"/>
      <dgm:spPr/>
    </dgm:pt>
    <dgm:pt modelId="{8D59B5DC-0758-4CBE-A823-E04EBD1130DE}" type="pres">
      <dgm:prSet presAssocID="{113AFE13-C34A-4E2D-9102-62D3282EBB42}" presName="compNode" presStyleCnt="0"/>
      <dgm:spPr/>
    </dgm:pt>
    <dgm:pt modelId="{CED5A79C-E3EB-4C00-B51C-FB2608A7D8D9}" type="pres">
      <dgm:prSet presAssocID="{113AFE13-C34A-4E2D-9102-62D3282EBB42}" presName="iconBgRect" presStyleLbl="bgShp" presStyleIdx="1" presStyleCnt="3"/>
      <dgm:spPr/>
    </dgm:pt>
    <dgm:pt modelId="{D8264EC6-1F91-40C2-8D6D-6AA7787CEE6B}" type="pres">
      <dgm:prSet presAssocID="{113AFE13-C34A-4E2D-9102-62D3282EBB42}"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Folder Search outline"/>
        </a:ext>
      </dgm:extLst>
    </dgm:pt>
    <dgm:pt modelId="{4A19838D-FE52-4658-B12B-22D94B5E378B}" type="pres">
      <dgm:prSet presAssocID="{113AFE13-C34A-4E2D-9102-62D3282EBB42}" presName="spaceRect" presStyleCnt="0"/>
      <dgm:spPr/>
    </dgm:pt>
    <dgm:pt modelId="{A1BC66BC-1AEA-4E0F-BC52-151E97EC5403}" type="pres">
      <dgm:prSet presAssocID="{113AFE13-C34A-4E2D-9102-62D3282EBB42}" presName="textRect" presStyleLbl="revTx" presStyleIdx="1" presStyleCnt="3">
        <dgm:presLayoutVars>
          <dgm:chMax val="1"/>
          <dgm:chPref val="1"/>
        </dgm:presLayoutVars>
      </dgm:prSet>
      <dgm:spPr/>
    </dgm:pt>
    <dgm:pt modelId="{C8A1410A-AA67-4D36-8009-5874A614011A}" type="pres">
      <dgm:prSet presAssocID="{F059768E-BE00-4182-93E9-B2D4E51F3DA8}" presName="sibTrans" presStyleCnt="0"/>
      <dgm:spPr/>
    </dgm:pt>
    <dgm:pt modelId="{0145E06B-D970-4DFF-9492-B1383DD8C75E}" type="pres">
      <dgm:prSet presAssocID="{F5EBDA1E-81F9-4BFD-A983-91225366C042}" presName="compNode" presStyleCnt="0"/>
      <dgm:spPr/>
    </dgm:pt>
    <dgm:pt modelId="{4AE3D926-6F97-465E-928F-016682FAB006}" type="pres">
      <dgm:prSet presAssocID="{F5EBDA1E-81F9-4BFD-A983-91225366C042}" presName="iconBgRect" presStyleLbl="bgShp" presStyleIdx="2" presStyleCnt="3"/>
      <dgm:spPr/>
    </dgm:pt>
    <dgm:pt modelId="{29027C61-2662-4A87-B825-27A725B3DEB2}" type="pres">
      <dgm:prSet presAssocID="{F5EBDA1E-81F9-4BFD-A983-91225366C042}" presName="iconRect" presStyleLbl="node1" presStyleIdx="2" presStyleCnt="3"/>
      <dgm:spPr>
        <a:blipFill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Document"/>
        </a:ext>
      </dgm:extLst>
    </dgm:pt>
    <dgm:pt modelId="{D42BDBB9-91BF-4C9E-91C6-54E09E353223}" type="pres">
      <dgm:prSet presAssocID="{F5EBDA1E-81F9-4BFD-A983-91225366C042}" presName="spaceRect" presStyleCnt="0"/>
      <dgm:spPr/>
    </dgm:pt>
    <dgm:pt modelId="{66A10F60-C9AB-4733-A0FD-4946CF45BA7D}" type="pres">
      <dgm:prSet presAssocID="{F5EBDA1E-81F9-4BFD-A983-91225366C042}" presName="textRect" presStyleLbl="revTx" presStyleIdx="2" presStyleCnt="3">
        <dgm:presLayoutVars>
          <dgm:chMax val="1"/>
          <dgm:chPref val="1"/>
        </dgm:presLayoutVars>
      </dgm:prSet>
      <dgm:spPr/>
    </dgm:pt>
  </dgm:ptLst>
  <dgm:cxnLst>
    <dgm:cxn modelId="{88928109-FBAF-4BC3-A5D7-61FAD023ABF6}" type="presOf" srcId="{6985183A-17AC-4A94-8AF8-C3EE02C7FEAF}" destId="{137255C3-A33F-431D-A07D-3CE8B693E6DB}" srcOrd="0" destOrd="0" presId="urn:microsoft.com/office/officeart/2018/5/layout/IconCircleLabelList"/>
    <dgm:cxn modelId="{BB44991E-AA60-4113-A26E-F1194DA9F03A}" type="presOf" srcId="{88F21687-CBB2-4F34-AD57-5451A4CCDEBC}" destId="{BF96DFAC-1159-41F4-8348-BF1D5C49968E}" srcOrd="0" destOrd="0" presId="urn:microsoft.com/office/officeart/2018/5/layout/IconCircleLabelList"/>
    <dgm:cxn modelId="{F9970275-12AA-4267-808D-1AABCAD30086}" srcId="{6985183A-17AC-4A94-8AF8-C3EE02C7FEAF}" destId="{88F21687-CBB2-4F34-AD57-5451A4CCDEBC}" srcOrd="0" destOrd="0" parTransId="{52235E93-5DFD-4C36-9951-72E311EEDDBB}" sibTransId="{FBF1A830-5AD6-45E1-B3A4-7FC4A6F057C7}"/>
    <dgm:cxn modelId="{22939877-327F-43B0-906A-EC65701655A5}" srcId="{6985183A-17AC-4A94-8AF8-C3EE02C7FEAF}" destId="{F5EBDA1E-81F9-4BFD-A983-91225366C042}" srcOrd="2" destOrd="0" parTransId="{ABDCEB1C-E1F5-491B-B53A-D932B36010C7}" sibTransId="{76F4DE92-3394-4230-AC4C-DE92C0B8FDA9}"/>
    <dgm:cxn modelId="{BF3BE9B4-912B-4F83-9FA2-C2A2234C6C6E}" srcId="{6985183A-17AC-4A94-8AF8-C3EE02C7FEAF}" destId="{113AFE13-C34A-4E2D-9102-62D3282EBB42}" srcOrd="1" destOrd="0" parTransId="{A58B1CD0-0798-4DB9-B704-5C387C79AA28}" sibTransId="{F059768E-BE00-4182-93E9-B2D4E51F3DA8}"/>
    <dgm:cxn modelId="{62F05ACD-078C-4F0C-B98E-9ADF5096C626}" type="presOf" srcId="{F5EBDA1E-81F9-4BFD-A983-91225366C042}" destId="{66A10F60-C9AB-4733-A0FD-4946CF45BA7D}" srcOrd="0" destOrd="0" presId="urn:microsoft.com/office/officeart/2018/5/layout/IconCircleLabelList"/>
    <dgm:cxn modelId="{6A8095EC-379F-4594-8BA4-1191C2CF9623}" type="presOf" srcId="{113AFE13-C34A-4E2D-9102-62D3282EBB42}" destId="{A1BC66BC-1AEA-4E0F-BC52-151E97EC5403}" srcOrd="0" destOrd="0" presId="urn:microsoft.com/office/officeart/2018/5/layout/IconCircleLabelList"/>
    <dgm:cxn modelId="{DB9FF068-FDD3-45DE-9CF9-73DC15332184}" type="presParOf" srcId="{137255C3-A33F-431D-A07D-3CE8B693E6DB}" destId="{FDCE8300-2F33-4C63-8861-3D7471C3DE06}" srcOrd="0" destOrd="0" presId="urn:microsoft.com/office/officeart/2018/5/layout/IconCircleLabelList"/>
    <dgm:cxn modelId="{7BDEE323-6D57-44AB-A27C-A83CB75877ED}" type="presParOf" srcId="{FDCE8300-2F33-4C63-8861-3D7471C3DE06}" destId="{4116410C-7FB7-415F-8FBE-33AC94BC4800}" srcOrd="0" destOrd="0" presId="urn:microsoft.com/office/officeart/2018/5/layout/IconCircleLabelList"/>
    <dgm:cxn modelId="{94BB3A27-B2F8-4896-AF3C-010CDEF19B6D}" type="presParOf" srcId="{FDCE8300-2F33-4C63-8861-3D7471C3DE06}" destId="{35C37234-FAF9-43C2-92C9-03D873CF52A4}" srcOrd="1" destOrd="0" presId="urn:microsoft.com/office/officeart/2018/5/layout/IconCircleLabelList"/>
    <dgm:cxn modelId="{DFFFDB0B-8B49-4F06-B952-CF0CAE42D2E6}" type="presParOf" srcId="{FDCE8300-2F33-4C63-8861-3D7471C3DE06}" destId="{24C8BC26-CAD7-44D6-A490-80F39144ACE4}" srcOrd="2" destOrd="0" presId="urn:microsoft.com/office/officeart/2018/5/layout/IconCircleLabelList"/>
    <dgm:cxn modelId="{F398C0A3-9CA6-4B9D-A18D-1424A73AFD0D}" type="presParOf" srcId="{FDCE8300-2F33-4C63-8861-3D7471C3DE06}" destId="{BF96DFAC-1159-41F4-8348-BF1D5C49968E}" srcOrd="3" destOrd="0" presId="urn:microsoft.com/office/officeart/2018/5/layout/IconCircleLabelList"/>
    <dgm:cxn modelId="{6026DF45-1E37-484E-A0C1-95974BFEB748}" type="presParOf" srcId="{137255C3-A33F-431D-A07D-3CE8B693E6DB}" destId="{D3715989-AF90-4FA0-83A4-165DBC6E2B41}" srcOrd="1" destOrd="0" presId="urn:microsoft.com/office/officeart/2018/5/layout/IconCircleLabelList"/>
    <dgm:cxn modelId="{3CD3962C-B6DF-476B-A718-131A5967F635}" type="presParOf" srcId="{137255C3-A33F-431D-A07D-3CE8B693E6DB}" destId="{8D59B5DC-0758-4CBE-A823-E04EBD1130DE}" srcOrd="2" destOrd="0" presId="urn:microsoft.com/office/officeart/2018/5/layout/IconCircleLabelList"/>
    <dgm:cxn modelId="{E36C67F7-71E3-40EC-A23D-379052FF99FB}" type="presParOf" srcId="{8D59B5DC-0758-4CBE-A823-E04EBD1130DE}" destId="{CED5A79C-E3EB-4C00-B51C-FB2608A7D8D9}" srcOrd="0" destOrd="0" presId="urn:microsoft.com/office/officeart/2018/5/layout/IconCircleLabelList"/>
    <dgm:cxn modelId="{AD049D0B-3E33-42C6-89C9-E2D57812A67A}" type="presParOf" srcId="{8D59B5DC-0758-4CBE-A823-E04EBD1130DE}" destId="{D8264EC6-1F91-40C2-8D6D-6AA7787CEE6B}" srcOrd="1" destOrd="0" presId="urn:microsoft.com/office/officeart/2018/5/layout/IconCircleLabelList"/>
    <dgm:cxn modelId="{F3D97E09-E0FC-43C4-A310-1D001CA5457F}" type="presParOf" srcId="{8D59B5DC-0758-4CBE-A823-E04EBD1130DE}" destId="{4A19838D-FE52-4658-B12B-22D94B5E378B}" srcOrd="2" destOrd="0" presId="urn:microsoft.com/office/officeart/2018/5/layout/IconCircleLabelList"/>
    <dgm:cxn modelId="{A74B78F7-7C13-4C7B-8A5C-72DC0F6E3AB3}" type="presParOf" srcId="{8D59B5DC-0758-4CBE-A823-E04EBD1130DE}" destId="{A1BC66BC-1AEA-4E0F-BC52-151E97EC5403}" srcOrd="3" destOrd="0" presId="urn:microsoft.com/office/officeart/2018/5/layout/IconCircleLabelList"/>
    <dgm:cxn modelId="{8F4F8983-8974-4150-BCEC-33FA14BEA69C}" type="presParOf" srcId="{137255C3-A33F-431D-A07D-3CE8B693E6DB}" destId="{C8A1410A-AA67-4D36-8009-5874A614011A}" srcOrd="3" destOrd="0" presId="urn:microsoft.com/office/officeart/2018/5/layout/IconCircleLabelList"/>
    <dgm:cxn modelId="{373E460B-7F03-42D8-B2A5-CE254700735A}" type="presParOf" srcId="{137255C3-A33F-431D-A07D-3CE8B693E6DB}" destId="{0145E06B-D970-4DFF-9492-B1383DD8C75E}" srcOrd="4" destOrd="0" presId="urn:microsoft.com/office/officeart/2018/5/layout/IconCircleLabelList"/>
    <dgm:cxn modelId="{5AC325B8-F033-4470-B983-5654A75DD7ED}" type="presParOf" srcId="{0145E06B-D970-4DFF-9492-B1383DD8C75E}" destId="{4AE3D926-6F97-465E-928F-016682FAB006}" srcOrd="0" destOrd="0" presId="urn:microsoft.com/office/officeart/2018/5/layout/IconCircleLabelList"/>
    <dgm:cxn modelId="{7DCA8B82-5705-4628-9C2C-6782F5F88888}" type="presParOf" srcId="{0145E06B-D970-4DFF-9492-B1383DD8C75E}" destId="{29027C61-2662-4A87-B825-27A725B3DEB2}" srcOrd="1" destOrd="0" presId="urn:microsoft.com/office/officeart/2018/5/layout/IconCircleLabelList"/>
    <dgm:cxn modelId="{38EC06D6-127B-4061-864A-885802494DDF}" type="presParOf" srcId="{0145E06B-D970-4DFF-9492-B1383DD8C75E}" destId="{D42BDBB9-91BF-4C9E-91C6-54E09E353223}" srcOrd="2" destOrd="0" presId="urn:microsoft.com/office/officeart/2018/5/layout/IconCircleLabelList"/>
    <dgm:cxn modelId="{15CBA24D-831F-41B5-851C-AB5B05E2F17F}" type="presParOf" srcId="{0145E06B-D970-4DFF-9492-B1383DD8C75E}" destId="{66A10F60-C9AB-4733-A0FD-4946CF45BA7D}"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985183A-17AC-4A94-8AF8-C3EE02C7FEAF}" type="doc">
      <dgm:prSet loTypeId="urn:microsoft.com/office/officeart/2018/5/layout/IconCircleLabelList" loCatId="icon" qsTypeId="urn:microsoft.com/office/officeart/2005/8/quickstyle/simple1" qsCatId="simple" csTypeId="urn:microsoft.com/office/officeart/2005/8/colors/accent1_2" csCatId="accent1" phldr="1"/>
      <dgm:spPr/>
      <dgm:t>
        <a:bodyPr/>
        <a:lstStyle/>
        <a:p>
          <a:endParaRPr lang="en-US"/>
        </a:p>
      </dgm:t>
    </dgm:pt>
    <dgm:pt modelId="{8CB2C285-7E03-43F8-94B6-869556AF899F}">
      <dgm:prSet/>
      <dgm:spPr/>
      <dgm:t>
        <a:bodyPr/>
        <a:lstStyle/>
        <a:p>
          <a:pPr>
            <a:lnSpc>
              <a:spcPct val="100000"/>
            </a:lnSpc>
            <a:defRPr cap="all"/>
          </a:pPr>
          <a:r>
            <a:rPr lang="en-US" dirty="0"/>
            <a:t>Scale up for Parallel Loadings when Needed</a:t>
          </a:r>
        </a:p>
      </dgm:t>
    </dgm:pt>
    <dgm:pt modelId="{68736274-2CBA-4910-B4F2-4EA777FAE7B0}" type="parTrans" cxnId="{602B564B-070C-4E14-8D54-E58B226C7C72}">
      <dgm:prSet/>
      <dgm:spPr/>
      <dgm:t>
        <a:bodyPr/>
        <a:lstStyle/>
        <a:p>
          <a:endParaRPr lang="en-US"/>
        </a:p>
      </dgm:t>
    </dgm:pt>
    <dgm:pt modelId="{768F6427-100E-46C8-918C-F109E9693561}" type="sibTrans" cxnId="{602B564B-070C-4E14-8D54-E58B226C7C72}">
      <dgm:prSet/>
      <dgm:spPr/>
      <dgm:t>
        <a:bodyPr/>
        <a:lstStyle/>
        <a:p>
          <a:endParaRPr lang="en-US"/>
        </a:p>
      </dgm:t>
    </dgm:pt>
    <dgm:pt modelId="{8F09C772-FCA1-4C0E-8F6B-136881AAB380}">
      <dgm:prSet/>
      <dgm:spPr/>
      <dgm:t>
        <a:bodyPr/>
        <a:lstStyle/>
        <a:p>
          <a:pPr>
            <a:lnSpc>
              <a:spcPct val="100000"/>
            </a:lnSpc>
            <a:defRPr cap="all"/>
          </a:pPr>
          <a:r>
            <a:rPr lang="en-US" dirty="0"/>
            <a:t>Minimize Parallel Loads</a:t>
          </a:r>
        </a:p>
      </dgm:t>
    </dgm:pt>
    <dgm:pt modelId="{563D3C14-868F-4F21-B006-06F10407527D}" type="parTrans" cxnId="{3B05CB1D-1ED4-4D6D-99AB-2EAE98A27B55}">
      <dgm:prSet/>
      <dgm:spPr/>
      <dgm:t>
        <a:bodyPr/>
        <a:lstStyle/>
        <a:p>
          <a:endParaRPr lang="en-US"/>
        </a:p>
      </dgm:t>
    </dgm:pt>
    <dgm:pt modelId="{4EBFEC70-EDF2-4621-9852-F4C9A7FA86AA}" type="sibTrans" cxnId="{3B05CB1D-1ED4-4D6D-99AB-2EAE98A27B55}">
      <dgm:prSet/>
      <dgm:spPr/>
      <dgm:t>
        <a:bodyPr/>
        <a:lstStyle/>
        <a:p>
          <a:endParaRPr lang="en-US"/>
        </a:p>
      </dgm:t>
    </dgm:pt>
    <dgm:pt modelId="{163BB9A9-12B8-4740-9014-A9C9B766D1D7}">
      <dgm:prSet/>
      <dgm:spPr/>
      <dgm:t>
        <a:bodyPr/>
        <a:lstStyle/>
        <a:p>
          <a:pPr>
            <a:lnSpc>
              <a:spcPct val="100000"/>
            </a:lnSpc>
            <a:defRPr cap="all"/>
          </a:pPr>
          <a:r>
            <a:rPr lang="en-US" dirty="0"/>
            <a:t>Grant Enough Resource for Loads</a:t>
          </a:r>
        </a:p>
      </dgm:t>
    </dgm:pt>
    <dgm:pt modelId="{DA55C0A8-2FB8-4100-AB32-5D6227D137A8}" type="parTrans" cxnId="{FECD28D7-7C5B-4FE5-BF61-FA33FE5DBD73}">
      <dgm:prSet/>
      <dgm:spPr/>
      <dgm:t>
        <a:bodyPr/>
        <a:lstStyle/>
        <a:p>
          <a:endParaRPr lang="en-US"/>
        </a:p>
      </dgm:t>
    </dgm:pt>
    <dgm:pt modelId="{F3DF94E2-C93E-4439-82F0-56A22C73EB15}" type="sibTrans" cxnId="{FECD28D7-7C5B-4FE5-BF61-FA33FE5DBD73}">
      <dgm:prSet/>
      <dgm:spPr/>
      <dgm:t>
        <a:bodyPr/>
        <a:lstStyle/>
        <a:p>
          <a:endParaRPr lang="en-US"/>
        </a:p>
      </dgm:t>
    </dgm:pt>
    <dgm:pt modelId="{A804C353-7190-440E-9E62-42E917B5A50A}" type="pres">
      <dgm:prSet presAssocID="{6985183A-17AC-4A94-8AF8-C3EE02C7FEAF}" presName="root" presStyleCnt="0">
        <dgm:presLayoutVars>
          <dgm:dir/>
          <dgm:resizeHandles val="exact"/>
        </dgm:presLayoutVars>
      </dgm:prSet>
      <dgm:spPr/>
    </dgm:pt>
    <dgm:pt modelId="{5DE51BC5-2E10-4340-9CAE-8B0ED896B867}" type="pres">
      <dgm:prSet presAssocID="{8F09C772-FCA1-4C0E-8F6B-136881AAB380}" presName="compNode" presStyleCnt="0"/>
      <dgm:spPr/>
    </dgm:pt>
    <dgm:pt modelId="{1AB13C76-C853-4688-A4A6-9612D91E67CA}" type="pres">
      <dgm:prSet presAssocID="{8F09C772-FCA1-4C0E-8F6B-136881AAB380}" presName="iconBgRect" presStyleLbl="bgShp" presStyleIdx="0" presStyleCnt="3"/>
      <dgm:spPr/>
    </dgm:pt>
    <dgm:pt modelId="{F5B4E9A0-937A-4362-9E35-860FB6FBB5A4}" type="pres">
      <dgm:prSet presAssocID="{8F09C772-FCA1-4C0E-8F6B-136881AAB380}"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Juggler with solid fill"/>
        </a:ext>
      </dgm:extLst>
    </dgm:pt>
    <dgm:pt modelId="{CF1E9D31-B2B1-4EAA-9A02-2F0EE5996CA7}" type="pres">
      <dgm:prSet presAssocID="{8F09C772-FCA1-4C0E-8F6B-136881AAB380}" presName="spaceRect" presStyleCnt="0"/>
      <dgm:spPr/>
    </dgm:pt>
    <dgm:pt modelId="{F77B9753-37D6-4AD1-A8FD-0A86442E1D9B}" type="pres">
      <dgm:prSet presAssocID="{8F09C772-FCA1-4C0E-8F6B-136881AAB380}" presName="textRect" presStyleLbl="revTx" presStyleIdx="0" presStyleCnt="3">
        <dgm:presLayoutVars>
          <dgm:chMax val="1"/>
          <dgm:chPref val="1"/>
        </dgm:presLayoutVars>
      </dgm:prSet>
      <dgm:spPr/>
    </dgm:pt>
    <dgm:pt modelId="{27140CC8-7C86-494E-AC93-CDB2D8903494}" type="pres">
      <dgm:prSet presAssocID="{4EBFEC70-EDF2-4621-9852-F4C9A7FA86AA}" presName="sibTrans" presStyleCnt="0"/>
      <dgm:spPr/>
    </dgm:pt>
    <dgm:pt modelId="{00B31B09-D06E-4EF0-95D6-A2FA036FBBA1}" type="pres">
      <dgm:prSet presAssocID="{8CB2C285-7E03-43F8-94B6-869556AF899F}" presName="compNode" presStyleCnt="0"/>
      <dgm:spPr/>
    </dgm:pt>
    <dgm:pt modelId="{0B578F9D-349D-449F-98EA-6D1445C2D350}" type="pres">
      <dgm:prSet presAssocID="{8CB2C285-7E03-43F8-94B6-869556AF899F}" presName="iconBgRect" presStyleLbl="bgShp" presStyleIdx="1" presStyleCnt="3"/>
      <dgm:spPr/>
    </dgm:pt>
    <dgm:pt modelId="{BF420531-5049-40D1-BFCF-5043147C7DAA}" type="pres">
      <dgm:prSet presAssocID="{8CB2C285-7E03-43F8-94B6-869556AF899F}"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Server with solid fill"/>
        </a:ext>
      </dgm:extLst>
    </dgm:pt>
    <dgm:pt modelId="{52DB3754-9E2F-4C32-ACE0-0EF4D24C3D28}" type="pres">
      <dgm:prSet presAssocID="{8CB2C285-7E03-43F8-94B6-869556AF899F}" presName="spaceRect" presStyleCnt="0"/>
      <dgm:spPr/>
    </dgm:pt>
    <dgm:pt modelId="{57445B2C-CF8F-4860-B99F-E97A6A9F0AF8}" type="pres">
      <dgm:prSet presAssocID="{8CB2C285-7E03-43F8-94B6-869556AF899F}" presName="textRect" presStyleLbl="revTx" presStyleIdx="1" presStyleCnt="3">
        <dgm:presLayoutVars>
          <dgm:chMax val="1"/>
          <dgm:chPref val="1"/>
        </dgm:presLayoutVars>
      </dgm:prSet>
      <dgm:spPr/>
    </dgm:pt>
    <dgm:pt modelId="{05133B4B-F367-4AA0-B839-43E595D82BD6}" type="pres">
      <dgm:prSet presAssocID="{768F6427-100E-46C8-918C-F109E9693561}" presName="sibTrans" presStyleCnt="0"/>
      <dgm:spPr/>
    </dgm:pt>
    <dgm:pt modelId="{84271826-0396-491E-9259-613F0BAD9172}" type="pres">
      <dgm:prSet presAssocID="{163BB9A9-12B8-4740-9014-A9C9B766D1D7}" presName="compNode" presStyleCnt="0"/>
      <dgm:spPr/>
    </dgm:pt>
    <dgm:pt modelId="{8D40A817-117D-44AF-BC80-8609CA7DB7C1}" type="pres">
      <dgm:prSet presAssocID="{163BB9A9-12B8-4740-9014-A9C9B766D1D7}" presName="iconBgRect" presStyleLbl="bgShp" presStyleIdx="2" presStyleCnt="3"/>
      <dgm:spPr/>
    </dgm:pt>
    <dgm:pt modelId="{C7123427-27D1-42CB-BD87-D4264F756167}" type="pres">
      <dgm:prSet presAssocID="{163BB9A9-12B8-4740-9014-A9C9B766D1D7}" presName="iconRect" presStyleLbl="nod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Beaver with solid fill"/>
        </a:ext>
      </dgm:extLst>
    </dgm:pt>
    <dgm:pt modelId="{A1EBC06C-69DE-46DA-A3EB-97A232C9B98F}" type="pres">
      <dgm:prSet presAssocID="{163BB9A9-12B8-4740-9014-A9C9B766D1D7}" presName="spaceRect" presStyleCnt="0"/>
      <dgm:spPr/>
    </dgm:pt>
    <dgm:pt modelId="{CC666288-6236-4BD5-91FE-90EC0A0A4A57}" type="pres">
      <dgm:prSet presAssocID="{163BB9A9-12B8-4740-9014-A9C9B766D1D7}" presName="textRect" presStyleLbl="revTx" presStyleIdx="2" presStyleCnt="3">
        <dgm:presLayoutVars>
          <dgm:chMax val="1"/>
          <dgm:chPref val="1"/>
        </dgm:presLayoutVars>
      </dgm:prSet>
      <dgm:spPr/>
    </dgm:pt>
  </dgm:ptLst>
  <dgm:cxnLst>
    <dgm:cxn modelId="{3B05CB1D-1ED4-4D6D-99AB-2EAE98A27B55}" srcId="{6985183A-17AC-4A94-8AF8-C3EE02C7FEAF}" destId="{8F09C772-FCA1-4C0E-8F6B-136881AAB380}" srcOrd="0" destOrd="0" parTransId="{563D3C14-868F-4F21-B006-06F10407527D}" sibTransId="{4EBFEC70-EDF2-4621-9852-F4C9A7FA86AA}"/>
    <dgm:cxn modelId="{948A8932-8614-4BF9-A2CA-993A4DD6C3CE}" type="presOf" srcId="{6985183A-17AC-4A94-8AF8-C3EE02C7FEAF}" destId="{A804C353-7190-440E-9E62-42E917B5A50A}" srcOrd="0" destOrd="0" presId="urn:microsoft.com/office/officeart/2018/5/layout/IconCircleLabelList"/>
    <dgm:cxn modelId="{602B564B-070C-4E14-8D54-E58B226C7C72}" srcId="{6985183A-17AC-4A94-8AF8-C3EE02C7FEAF}" destId="{8CB2C285-7E03-43F8-94B6-869556AF899F}" srcOrd="1" destOrd="0" parTransId="{68736274-2CBA-4910-B4F2-4EA777FAE7B0}" sibTransId="{768F6427-100E-46C8-918C-F109E9693561}"/>
    <dgm:cxn modelId="{70C32A6C-C5EE-4AA3-BAE9-C1197522A110}" type="presOf" srcId="{8F09C772-FCA1-4C0E-8F6B-136881AAB380}" destId="{F77B9753-37D6-4AD1-A8FD-0A86442E1D9B}" srcOrd="0" destOrd="0" presId="urn:microsoft.com/office/officeart/2018/5/layout/IconCircleLabelList"/>
    <dgm:cxn modelId="{71122E79-8195-4C96-B2EB-6E36DE68C455}" type="presOf" srcId="{163BB9A9-12B8-4740-9014-A9C9B766D1D7}" destId="{CC666288-6236-4BD5-91FE-90EC0A0A4A57}" srcOrd="0" destOrd="0" presId="urn:microsoft.com/office/officeart/2018/5/layout/IconCircleLabelList"/>
    <dgm:cxn modelId="{FECD28D7-7C5B-4FE5-BF61-FA33FE5DBD73}" srcId="{6985183A-17AC-4A94-8AF8-C3EE02C7FEAF}" destId="{163BB9A9-12B8-4740-9014-A9C9B766D1D7}" srcOrd="2" destOrd="0" parTransId="{DA55C0A8-2FB8-4100-AB32-5D6227D137A8}" sibTransId="{F3DF94E2-C93E-4439-82F0-56A22C73EB15}"/>
    <dgm:cxn modelId="{AAC189DE-6DE6-45FD-8153-F5EA40F189B8}" type="presOf" srcId="{8CB2C285-7E03-43F8-94B6-869556AF899F}" destId="{57445B2C-CF8F-4860-B99F-E97A6A9F0AF8}" srcOrd="0" destOrd="0" presId="urn:microsoft.com/office/officeart/2018/5/layout/IconCircleLabelList"/>
    <dgm:cxn modelId="{DBBA5562-86E7-411C-B177-A346F511F688}" type="presParOf" srcId="{A804C353-7190-440E-9E62-42E917B5A50A}" destId="{5DE51BC5-2E10-4340-9CAE-8B0ED896B867}" srcOrd="0" destOrd="0" presId="urn:microsoft.com/office/officeart/2018/5/layout/IconCircleLabelList"/>
    <dgm:cxn modelId="{FAA3905E-0FC5-46F1-8A9E-D7F6AF69E6FD}" type="presParOf" srcId="{5DE51BC5-2E10-4340-9CAE-8B0ED896B867}" destId="{1AB13C76-C853-4688-A4A6-9612D91E67CA}" srcOrd="0" destOrd="0" presId="urn:microsoft.com/office/officeart/2018/5/layout/IconCircleLabelList"/>
    <dgm:cxn modelId="{65C31CB9-5F02-47D1-9B5C-ED03317504A9}" type="presParOf" srcId="{5DE51BC5-2E10-4340-9CAE-8B0ED896B867}" destId="{F5B4E9A0-937A-4362-9E35-860FB6FBB5A4}" srcOrd="1" destOrd="0" presId="urn:microsoft.com/office/officeart/2018/5/layout/IconCircleLabelList"/>
    <dgm:cxn modelId="{DD70AE28-28A8-4888-8CCE-C0CB40176A42}" type="presParOf" srcId="{5DE51BC5-2E10-4340-9CAE-8B0ED896B867}" destId="{CF1E9D31-B2B1-4EAA-9A02-2F0EE5996CA7}" srcOrd="2" destOrd="0" presId="urn:microsoft.com/office/officeart/2018/5/layout/IconCircleLabelList"/>
    <dgm:cxn modelId="{5CFE7341-4352-4019-AEF3-2BB148735807}" type="presParOf" srcId="{5DE51BC5-2E10-4340-9CAE-8B0ED896B867}" destId="{F77B9753-37D6-4AD1-A8FD-0A86442E1D9B}" srcOrd="3" destOrd="0" presId="urn:microsoft.com/office/officeart/2018/5/layout/IconCircleLabelList"/>
    <dgm:cxn modelId="{657E2615-3679-4FAA-B44B-1480529AFAAB}" type="presParOf" srcId="{A804C353-7190-440E-9E62-42E917B5A50A}" destId="{27140CC8-7C86-494E-AC93-CDB2D8903494}" srcOrd="1" destOrd="0" presId="urn:microsoft.com/office/officeart/2018/5/layout/IconCircleLabelList"/>
    <dgm:cxn modelId="{92B675FB-4E24-41DA-B43C-D66A10D4845B}" type="presParOf" srcId="{A804C353-7190-440E-9E62-42E917B5A50A}" destId="{00B31B09-D06E-4EF0-95D6-A2FA036FBBA1}" srcOrd="2" destOrd="0" presId="urn:microsoft.com/office/officeart/2018/5/layout/IconCircleLabelList"/>
    <dgm:cxn modelId="{BE3D5058-DB06-42A8-AAC5-4AC0BB62C153}" type="presParOf" srcId="{00B31B09-D06E-4EF0-95D6-A2FA036FBBA1}" destId="{0B578F9D-349D-449F-98EA-6D1445C2D350}" srcOrd="0" destOrd="0" presId="urn:microsoft.com/office/officeart/2018/5/layout/IconCircleLabelList"/>
    <dgm:cxn modelId="{C8F5C3EC-942D-434D-BA63-D1737DD240D3}" type="presParOf" srcId="{00B31B09-D06E-4EF0-95D6-A2FA036FBBA1}" destId="{BF420531-5049-40D1-BFCF-5043147C7DAA}" srcOrd="1" destOrd="0" presId="urn:microsoft.com/office/officeart/2018/5/layout/IconCircleLabelList"/>
    <dgm:cxn modelId="{8571007D-224A-4054-91CE-F6D198C39608}" type="presParOf" srcId="{00B31B09-D06E-4EF0-95D6-A2FA036FBBA1}" destId="{52DB3754-9E2F-4C32-ACE0-0EF4D24C3D28}" srcOrd="2" destOrd="0" presId="urn:microsoft.com/office/officeart/2018/5/layout/IconCircleLabelList"/>
    <dgm:cxn modelId="{AA8A5517-0FD1-4AD1-A8B5-ED4BC7B7BA51}" type="presParOf" srcId="{00B31B09-D06E-4EF0-95D6-A2FA036FBBA1}" destId="{57445B2C-CF8F-4860-B99F-E97A6A9F0AF8}" srcOrd="3" destOrd="0" presId="urn:microsoft.com/office/officeart/2018/5/layout/IconCircleLabelList"/>
    <dgm:cxn modelId="{6CDEB517-6161-49A4-9081-1510CD1FF7DE}" type="presParOf" srcId="{A804C353-7190-440E-9E62-42E917B5A50A}" destId="{05133B4B-F367-4AA0-B839-43E595D82BD6}" srcOrd="3" destOrd="0" presId="urn:microsoft.com/office/officeart/2018/5/layout/IconCircleLabelList"/>
    <dgm:cxn modelId="{EC20861A-3DB6-4910-88CD-A86356258604}" type="presParOf" srcId="{A804C353-7190-440E-9E62-42E917B5A50A}" destId="{84271826-0396-491E-9259-613F0BAD9172}" srcOrd="4" destOrd="0" presId="urn:microsoft.com/office/officeart/2018/5/layout/IconCircleLabelList"/>
    <dgm:cxn modelId="{29B08A98-139B-4AC9-8770-2A59D5696EE7}" type="presParOf" srcId="{84271826-0396-491E-9259-613F0BAD9172}" destId="{8D40A817-117D-44AF-BC80-8609CA7DB7C1}" srcOrd="0" destOrd="0" presId="urn:microsoft.com/office/officeart/2018/5/layout/IconCircleLabelList"/>
    <dgm:cxn modelId="{238F8F00-51E0-465D-888D-0CCF60195212}" type="presParOf" srcId="{84271826-0396-491E-9259-613F0BAD9172}" destId="{C7123427-27D1-42CB-BD87-D4264F756167}" srcOrd="1" destOrd="0" presId="urn:microsoft.com/office/officeart/2018/5/layout/IconCircleLabelList"/>
    <dgm:cxn modelId="{A88FCE13-D8D3-49BA-907F-DD9EFEA59B61}" type="presParOf" srcId="{84271826-0396-491E-9259-613F0BAD9172}" destId="{A1EBC06C-69DE-46DA-A3EB-97A232C9B98F}" srcOrd="2" destOrd="0" presId="urn:microsoft.com/office/officeart/2018/5/layout/IconCircleLabelList"/>
    <dgm:cxn modelId="{8BE73E8C-6712-4F43-B7F9-002AC1F29887}" type="presParOf" srcId="{84271826-0396-491E-9259-613F0BAD9172}" destId="{CC666288-6236-4BD5-91FE-90EC0A0A4A57}"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985183A-17AC-4A94-8AF8-C3EE02C7FEAF}" type="doc">
      <dgm:prSet loTypeId="urn:microsoft.com/office/officeart/2018/5/layout/IconCircleLabelList" loCatId="icon" qsTypeId="urn:microsoft.com/office/officeart/2005/8/quickstyle/simple1" qsCatId="simple" csTypeId="urn:microsoft.com/office/officeart/2005/8/colors/accent1_2" csCatId="accent1" phldr="1"/>
      <dgm:spPr/>
      <dgm:t>
        <a:bodyPr/>
        <a:lstStyle/>
        <a:p>
          <a:endParaRPr lang="en-US"/>
        </a:p>
      </dgm:t>
    </dgm:pt>
    <dgm:pt modelId="{591136DF-573B-4BE9-BB5D-00A3CBFF6421}">
      <dgm:prSet/>
      <dgm:spPr/>
      <dgm:t>
        <a:bodyPr/>
        <a:lstStyle/>
        <a:p>
          <a:pPr>
            <a:lnSpc>
              <a:spcPct val="100000"/>
            </a:lnSpc>
            <a:defRPr cap="all"/>
          </a:pPr>
          <a:r>
            <a:rPr lang="en-US" cap="none" dirty="0"/>
            <a:t>Control Permissions</a:t>
          </a:r>
        </a:p>
      </dgm:t>
    </dgm:pt>
    <dgm:pt modelId="{ABBF9A5C-00DD-4FD4-9D40-49CE6CFA7514}" type="parTrans" cxnId="{27847CA5-616D-47FF-B4E8-A946B30B3CAE}">
      <dgm:prSet/>
      <dgm:spPr/>
      <dgm:t>
        <a:bodyPr/>
        <a:lstStyle/>
        <a:p>
          <a:endParaRPr lang="en-US"/>
        </a:p>
      </dgm:t>
    </dgm:pt>
    <dgm:pt modelId="{91290C68-3E9C-4C78-A6B1-5F9CE209F856}" type="sibTrans" cxnId="{27847CA5-616D-47FF-B4E8-A946B30B3CAE}">
      <dgm:prSet/>
      <dgm:spPr/>
      <dgm:t>
        <a:bodyPr/>
        <a:lstStyle/>
        <a:p>
          <a:endParaRPr lang="en-US"/>
        </a:p>
      </dgm:t>
    </dgm:pt>
    <dgm:pt modelId="{D8F5A2BC-7896-4FC2-B1A7-5FA24C119140}">
      <dgm:prSet/>
      <dgm:spPr/>
      <dgm:t>
        <a:bodyPr/>
        <a:lstStyle/>
        <a:p>
          <a:pPr>
            <a:lnSpc>
              <a:spcPct val="100000"/>
            </a:lnSpc>
            <a:defRPr cap="all"/>
          </a:pPr>
          <a:r>
            <a:rPr lang="en-US" cap="none" dirty="0"/>
            <a:t>Control Resources</a:t>
          </a:r>
        </a:p>
      </dgm:t>
    </dgm:pt>
    <dgm:pt modelId="{164DBCC8-BF2F-4E9F-A3B7-C7C265534510}" type="parTrans" cxnId="{B9BAF6FD-0DF6-4941-B24B-7718FE845220}">
      <dgm:prSet/>
      <dgm:spPr/>
      <dgm:t>
        <a:bodyPr/>
        <a:lstStyle/>
        <a:p>
          <a:endParaRPr lang="en-US"/>
        </a:p>
      </dgm:t>
    </dgm:pt>
    <dgm:pt modelId="{52447E3B-0363-45D6-A03A-D445925A4F13}" type="sibTrans" cxnId="{B9BAF6FD-0DF6-4941-B24B-7718FE845220}">
      <dgm:prSet/>
      <dgm:spPr/>
      <dgm:t>
        <a:bodyPr/>
        <a:lstStyle/>
        <a:p>
          <a:endParaRPr lang="en-US"/>
        </a:p>
      </dgm:t>
    </dgm:pt>
    <dgm:pt modelId="{32C1381C-9F54-47A4-AB59-D0E3C9A11A2B}" type="pres">
      <dgm:prSet presAssocID="{6985183A-17AC-4A94-8AF8-C3EE02C7FEAF}" presName="root" presStyleCnt="0">
        <dgm:presLayoutVars>
          <dgm:dir/>
          <dgm:resizeHandles val="exact"/>
        </dgm:presLayoutVars>
      </dgm:prSet>
      <dgm:spPr/>
    </dgm:pt>
    <dgm:pt modelId="{27D65127-94C7-40BD-A1B4-FE259B5BC0F2}" type="pres">
      <dgm:prSet presAssocID="{591136DF-573B-4BE9-BB5D-00A3CBFF6421}" presName="compNode" presStyleCnt="0"/>
      <dgm:spPr/>
    </dgm:pt>
    <dgm:pt modelId="{22468D82-51BE-4B00-A108-A0B9E523C5E8}" type="pres">
      <dgm:prSet presAssocID="{591136DF-573B-4BE9-BB5D-00A3CBFF6421}" presName="iconBgRect" presStyleLbl="bgShp" presStyleIdx="0" presStyleCnt="2"/>
      <dgm:spPr>
        <a:effectLst>
          <a:reflection blurRad="6350" stA="52000" endA="300" endPos="35000" dir="5400000" sy="-100000" algn="bl" rotWithShape="0"/>
        </a:effectLst>
        <a:scene3d>
          <a:camera prst="orthographicFront"/>
          <a:lightRig rig="threePt" dir="t"/>
        </a:scene3d>
        <a:sp3d>
          <a:bevelT prst="angle"/>
        </a:sp3d>
      </dgm:spPr>
    </dgm:pt>
    <dgm:pt modelId="{F75CF16F-A86A-4DD7-9B23-3C9CE708CAB7}" type="pres">
      <dgm:prSet presAssocID="{591136DF-573B-4BE9-BB5D-00A3CBFF6421}"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effectLst>
          <a:reflection blurRad="6350" stA="52000" endA="300" endPos="35000" dir="5400000" sy="-100000" algn="bl" rotWithShape="0"/>
        </a:effectLst>
        <a:scene3d>
          <a:camera prst="orthographicFront"/>
          <a:lightRig rig="threePt" dir="t"/>
        </a:scene3d>
        <a:sp3d>
          <a:bevelT prst="angle"/>
        </a:sp3d>
      </dgm:spPr>
      <dgm:extLst>
        <a:ext uri="{E40237B7-FDA0-4F09-8148-C483321AD2D9}">
          <dgm14:cNvPr xmlns:dgm14="http://schemas.microsoft.com/office/drawing/2010/diagram" id="0" name="" descr="Lock"/>
        </a:ext>
      </dgm:extLst>
    </dgm:pt>
    <dgm:pt modelId="{ED3E79F6-3BCC-4C43-B390-8D8F80E9E4B8}" type="pres">
      <dgm:prSet presAssocID="{591136DF-573B-4BE9-BB5D-00A3CBFF6421}" presName="spaceRect" presStyleCnt="0"/>
      <dgm:spPr/>
    </dgm:pt>
    <dgm:pt modelId="{DE0D1487-D62C-4ECE-86DC-DEFDBB7B66EB}" type="pres">
      <dgm:prSet presAssocID="{591136DF-573B-4BE9-BB5D-00A3CBFF6421}" presName="textRect" presStyleLbl="revTx" presStyleIdx="0" presStyleCnt="2">
        <dgm:presLayoutVars>
          <dgm:chMax val="1"/>
          <dgm:chPref val="1"/>
        </dgm:presLayoutVars>
      </dgm:prSet>
      <dgm:spPr/>
    </dgm:pt>
    <dgm:pt modelId="{615A049A-9DA5-4D6A-8E63-D0822C963D81}" type="pres">
      <dgm:prSet presAssocID="{91290C68-3E9C-4C78-A6B1-5F9CE209F856}" presName="sibTrans" presStyleCnt="0"/>
      <dgm:spPr/>
    </dgm:pt>
    <dgm:pt modelId="{51767DD4-1BA9-4543-A8E0-4364DB11806B}" type="pres">
      <dgm:prSet presAssocID="{D8F5A2BC-7896-4FC2-B1A7-5FA24C119140}" presName="compNode" presStyleCnt="0"/>
      <dgm:spPr/>
    </dgm:pt>
    <dgm:pt modelId="{E91E25F1-DD34-4BE6-AEF6-4CCD0CBEA8A0}" type="pres">
      <dgm:prSet presAssocID="{D8F5A2BC-7896-4FC2-B1A7-5FA24C119140}" presName="iconBgRect" presStyleLbl="bgShp" presStyleIdx="1" presStyleCnt="2"/>
      <dgm:spPr>
        <a:effectLst>
          <a:reflection blurRad="6350" stA="52000" endA="300" endPos="35000" dir="5400000" sy="-100000" algn="bl" rotWithShape="0"/>
        </a:effectLst>
        <a:scene3d>
          <a:camera prst="orthographicFront"/>
          <a:lightRig rig="threePt" dir="t"/>
        </a:scene3d>
        <a:sp3d>
          <a:bevelT prst="angle"/>
        </a:sp3d>
      </dgm:spPr>
    </dgm:pt>
    <dgm:pt modelId="{57D04DB2-CF09-4003-B1D2-5EF0CAEB89FF}" type="pres">
      <dgm:prSet presAssocID="{D8F5A2BC-7896-4FC2-B1A7-5FA24C119140}"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effectLst>
          <a:reflection blurRad="6350" stA="52000" endA="300" endPos="35000" dir="5400000" sy="-100000" algn="bl" rotWithShape="0"/>
        </a:effectLst>
        <a:scene3d>
          <a:camera prst="orthographicFront"/>
          <a:lightRig rig="threePt" dir="t"/>
        </a:scene3d>
        <a:sp3d>
          <a:bevelT prst="angle"/>
        </a:sp3d>
      </dgm:spPr>
      <dgm:extLst>
        <a:ext uri="{E40237B7-FDA0-4F09-8148-C483321AD2D9}">
          <dgm14:cNvPr xmlns:dgm14="http://schemas.microsoft.com/office/drawing/2010/diagram" id="0" name="" descr="Gears"/>
        </a:ext>
      </dgm:extLst>
    </dgm:pt>
    <dgm:pt modelId="{48733290-8B0F-4BDE-BEE0-ED5AE1F9216B}" type="pres">
      <dgm:prSet presAssocID="{D8F5A2BC-7896-4FC2-B1A7-5FA24C119140}" presName="spaceRect" presStyleCnt="0"/>
      <dgm:spPr/>
    </dgm:pt>
    <dgm:pt modelId="{4C356286-D988-4EA0-A5FE-F04BF56628F2}" type="pres">
      <dgm:prSet presAssocID="{D8F5A2BC-7896-4FC2-B1A7-5FA24C119140}" presName="textRect" presStyleLbl="revTx" presStyleIdx="1" presStyleCnt="2">
        <dgm:presLayoutVars>
          <dgm:chMax val="1"/>
          <dgm:chPref val="1"/>
        </dgm:presLayoutVars>
      </dgm:prSet>
      <dgm:spPr/>
    </dgm:pt>
  </dgm:ptLst>
  <dgm:cxnLst>
    <dgm:cxn modelId="{72425B5C-4293-4433-BAB2-5443AB469356}" type="presOf" srcId="{D8F5A2BC-7896-4FC2-B1A7-5FA24C119140}" destId="{4C356286-D988-4EA0-A5FE-F04BF56628F2}" srcOrd="0" destOrd="0" presId="urn:microsoft.com/office/officeart/2018/5/layout/IconCircleLabelList"/>
    <dgm:cxn modelId="{456B1768-A285-49C7-B8B6-6537DC62BE45}" type="presOf" srcId="{6985183A-17AC-4A94-8AF8-C3EE02C7FEAF}" destId="{32C1381C-9F54-47A4-AB59-D0E3C9A11A2B}" srcOrd="0" destOrd="0" presId="urn:microsoft.com/office/officeart/2018/5/layout/IconCircleLabelList"/>
    <dgm:cxn modelId="{4D64D04C-C844-404A-9BB7-20C19B033079}" type="presOf" srcId="{591136DF-573B-4BE9-BB5D-00A3CBFF6421}" destId="{DE0D1487-D62C-4ECE-86DC-DEFDBB7B66EB}" srcOrd="0" destOrd="0" presId="urn:microsoft.com/office/officeart/2018/5/layout/IconCircleLabelList"/>
    <dgm:cxn modelId="{27847CA5-616D-47FF-B4E8-A946B30B3CAE}" srcId="{6985183A-17AC-4A94-8AF8-C3EE02C7FEAF}" destId="{591136DF-573B-4BE9-BB5D-00A3CBFF6421}" srcOrd="0" destOrd="0" parTransId="{ABBF9A5C-00DD-4FD4-9D40-49CE6CFA7514}" sibTransId="{91290C68-3E9C-4C78-A6B1-5F9CE209F856}"/>
    <dgm:cxn modelId="{B9BAF6FD-0DF6-4941-B24B-7718FE845220}" srcId="{6985183A-17AC-4A94-8AF8-C3EE02C7FEAF}" destId="{D8F5A2BC-7896-4FC2-B1A7-5FA24C119140}" srcOrd="1" destOrd="0" parTransId="{164DBCC8-BF2F-4E9F-A3B7-C7C265534510}" sibTransId="{52447E3B-0363-45D6-A03A-D445925A4F13}"/>
    <dgm:cxn modelId="{843E0A5D-A348-41EE-A9A6-9967AD18EA56}" type="presParOf" srcId="{32C1381C-9F54-47A4-AB59-D0E3C9A11A2B}" destId="{27D65127-94C7-40BD-A1B4-FE259B5BC0F2}" srcOrd="0" destOrd="0" presId="urn:microsoft.com/office/officeart/2018/5/layout/IconCircleLabelList"/>
    <dgm:cxn modelId="{21780E9B-6A55-4BD0-883D-6B7F6D7F7F33}" type="presParOf" srcId="{27D65127-94C7-40BD-A1B4-FE259B5BC0F2}" destId="{22468D82-51BE-4B00-A108-A0B9E523C5E8}" srcOrd="0" destOrd="0" presId="urn:microsoft.com/office/officeart/2018/5/layout/IconCircleLabelList"/>
    <dgm:cxn modelId="{B11BEF27-A5D5-4D7A-B4AC-2860892BD26C}" type="presParOf" srcId="{27D65127-94C7-40BD-A1B4-FE259B5BC0F2}" destId="{F75CF16F-A86A-4DD7-9B23-3C9CE708CAB7}" srcOrd="1" destOrd="0" presId="urn:microsoft.com/office/officeart/2018/5/layout/IconCircleLabelList"/>
    <dgm:cxn modelId="{3C96FC5E-0614-44D6-973E-70BEF2616A91}" type="presParOf" srcId="{27D65127-94C7-40BD-A1B4-FE259B5BC0F2}" destId="{ED3E79F6-3BCC-4C43-B390-8D8F80E9E4B8}" srcOrd="2" destOrd="0" presId="urn:microsoft.com/office/officeart/2018/5/layout/IconCircleLabelList"/>
    <dgm:cxn modelId="{FE622175-F21E-46D1-A355-B5FB39581122}" type="presParOf" srcId="{27D65127-94C7-40BD-A1B4-FE259B5BC0F2}" destId="{DE0D1487-D62C-4ECE-86DC-DEFDBB7B66EB}" srcOrd="3" destOrd="0" presId="urn:microsoft.com/office/officeart/2018/5/layout/IconCircleLabelList"/>
    <dgm:cxn modelId="{92A6C6EA-196F-4B89-AA38-2E892D0D7B7A}" type="presParOf" srcId="{32C1381C-9F54-47A4-AB59-D0E3C9A11A2B}" destId="{615A049A-9DA5-4D6A-8E63-D0822C963D81}" srcOrd="1" destOrd="0" presId="urn:microsoft.com/office/officeart/2018/5/layout/IconCircleLabelList"/>
    <dgm:cxn modelId="{95DC46EB-2998-41BE-9954-CF4029BB5911}" type="presParOf" srcId="{32C1381C-9F54-47A4-AB59-D0E3C9A11A2B}" destId="{51767DD4-1BA9-4543-A8E0-4364DB11806B}" srcOrd="2" destOrd="0" presId="urn:microsoft.com/office/officeart/2018/5/layout/IconCircleLabelList"/>
    <dgm:cxn modelId="{8686FAC2-F21B-482C-867C-7FE59722777D}" type="presParOf" srcId="{51767DD4-1BA9-4543-A8E0-4364DB11806B}" destId="{E91E25F1-DD34-4BE6-AEF6-4CCD0CBEA8A0}" srcOrd="0" destOrd="0" presId="urn:microsoft.com/office/officeart/2018/5/layout/IconCircleLabelList"/>
    <dgm:cxn modelId="{A8BB61E5-5CDB-4EE5-B116-54B182DC4DF4}" type="presParOf" srcId="{51767DD4-1BA9-4543-A8E0-4364DB11806B}" destId="{57D04DB2-CF09-4003-B1D2-5EF0CAEB89FF}" srcOrd="1" destOrd="0" presId="urn:microsoft.com/office/officeart/2018/5/layout/IconCircleLabelList"/>
    <dgm:cxn modelId="{563B880A-E3DB-47F6-B054-5FEF1797FF09}" type="presParOf" srcId="{51767DD4-1BA9-4543-A8E0-4364DB11806B}" destId="{48733290-8B0F-4BDE-BEE0-ED5AE1F9216B}" srcOrd="2" destOrd="0" presId="urn:microsoft.com/office/officeart/2018/5/layout/IconCircleLabelList"/>
    <dgm:cxn modelId="{92AFED85-6A40-4E04-BAB6-0D37093E372E}" type="presParOf" srcId="{51767DD4-1BA9-4543-A8E0-4364DB11806B}" destId="{4C356286-D988-4EA0-A5FE-F04BF56628F2}"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DEF22971-1D80-4164-A497-E26B1CE6A70F}" type="doc">
      <dgm:prSet loTypeId="urn:microsoft.com/office/officeart/2005/8/layout/vList4" loCatId="list" qsTypeId="urn:microsoft.com/office/officeart/2005/8/quickstyle/simple1" qsCatId="simple" csTypeId="urn:microsoft.com/office/officeart/2005/8/colors/accent1_3" csCatId="accent1" phldr="1"/>
      <dgm:spPr/>
      <dgm:t>
        <a:bodyPr/>
        <a:lstStyle/>
        <a:p>
          <a:endParaRPr lang="en-US"/>
        </a:p>
      </dgm:t>
    </dgm:pt>
    <dgm:pt modelId="{A13115C1-2A02-4116-A5A0-B8D701EDED9C}">
      <dgm:prSet custT="1"/>
      <dgm:spPr/>
      <dgm:t>
        <a:bodyPr/>
        <a:lstStyle/>
        <a:p>
          <a:r>
            <a:rPr lang="en-US" sz="3600" dirty="0"/>
            <a:t>HEAP and Round-Robin</a:t>
          </a:r>
        </a:p>
      </dgm:t>
    </dgm:pt>
    <dgm:pt modelId="{9C11F9A1-B449-43D8-B8D9-5431C2F10A39}" type="sibTrans" cxnId="{81E9DE11-9512-4A92-A9A8-1410A2578A69}">
      <dgm:prSet/>
      <dgm:spPr/>
      <dgm:t>
        <a:bodyPr/>
        <a:lstStyle/>
        <a:p>
          <a:endParaRPr lang="en-US"/>
        </a:p>
      </dgm:t>
    </dgm:pt>
    <dgm:pt modelId="{771A6FF3-6804-40BC-B717-3F45C074D39B}" type="parTrans" cxnId="{81E9DE11-9512-4A92-A9A8-1410A2578A69}">
      <dgm:prSet/>
      <dgm:spPr/>
      <dgm:t>
        <a:bodyPr/>
        <a:lstStyle/>
        <a:p>
          <a:endParaRPr lang="en-US"/>
        </a:p>
      </dgm:t>
    </dgm:pt>
    <dgm:pt modelId="{B70EC70F-1C97-499D-A31E-5F1B0DC032A5}">
      <dgm:prSet/>
      <dgm:spPr>
        <a:scene3d>
          <a:camera prst="orthographicFront"/>
          <a:lightRig rig="threePt" dir="t"/>
        </a:scene3d>
        <a:sp3d>
          <a:bevelT prst="angle"/>
        </a:sp3d>
      </dgm:spPr>
      <dgm:t>
        <a:bodyPr/>
        <a:lstStyle/>
        <a:p>
          <a:endParaRPr lang="en-US" sz="5100" dirty="0"/>
        </a:p>
      </dgm:t>
    </dgm:pt>
    <dgm:pt modelId="{AB3853C7-32AD-4399-8107-877376288BDD}" type="parTrans" cxnId="{3DF93E8C-D9AC-45EE-8A5A-B34984447748}">
      <dgm:prSet/>
      <dgm:spPr/>
      <dgm:t>
        <a:bodyPr/>
        <a:lstStyle/>
        <a:p>
          <a:endParaRPr lang="en-US"/>
        </a:p>
      </dgm:t>
    </dgm:pt>
    <dgm:pt modelId="{39229571-99A5-4F0F-84DA-F7F7D45084FA}" type="sibTrans" cxnId="{3DF93E8C-D9AC-45EE-8A5A-B34984447748}">
      <dgm:prSet/>
      <dgm:spPr/>
      <dgm:t>
        <a:bodyPr/>
        <a:lstStyle/>
        <a:p>
          <a:endParaRPr lang="en-US"/>
        </a:p>
      </dgm:t>
    </dgm:pt>
    <dgm:pt modelId="{B8A03F70-B93F-4F27-9158-055A8F56057F}">
      <dgm:prSet custT="1"/>
      <dgm:spPr/>
      <dgm:t>
        <a:bodyPr/>
        <a:lstStyle/>
        <a:p>
          <a:r>
            <a:rPr lang="en-US" sz="2000" dirty="0"/>
            <a:t>Fast load into SQL Pools</a:t>
          </a:r>
        </a:p>
      </dgm:t>
    </dgm:pt>
    <dgm:pt modelId="{F553322A-31CD-4DF4-9877-2BF61B9C3356}" type="parTrans" cxnId="{45F40891-CC19-4931-94D1-D6D35C5D2238}">
      <dgm:prSet/>
      <dgm:spPr/>
      <dgm:t>
        <a:bodyPr/>
        <a:lstStyle/>
        <a:p>
          <a:endParaRPr lang="en-US"/>
        </a:p>
      </dgm:t>
    </dgm:pt>
    <dgm:pt modelId="{8043FC8E-1745-43D8-8729-BE40A0061745}" type="sibTrans" cxnId="{45F40891-CC19-4931-94D1-D6D35C5D2238}">
      <dgm:prSet/>
      <dgm:spPr/>
      <dgm:t>
        <a:bodyPr/>
        <a:lstStyle/>
        <a:p>
          <a:endParaRPr lang="en-US"/>
        </a:p>
      </dgm:t>
    </dgm:pt>
    <dgm:pt modelId="{08BDA1B3-1F1E-420E-90CD-680D6DA7BC6C}">
      <dgm:prSet custT="1"/>
      <dgm:spPr>
        <a:scene3d>
          <a:camera prst="orthographicFront"/>
          <a:lightRig rig="threePt" dir="t"/>
        </a:scene3d>
        <a:sp3d>
          <a:bevelT prst="angle"/>
        </a:sp3d>
      </dgm:spPr>
      <dgm:t>
        <a:bodyPr/>
        <a:lstStyle/>
        <a:p>
          <a:r>
            <a:rPr lang="en-US" sz="3600" dirty="0"/>
            <a:t>Hash Distributed, matching destination</a:t>
          </a:r>
        </a:p>
      </dgm:t>
    </dgm:pt>
    <dgm:pt modelId="{B04DE534-4AB0-400B-BDCA-3CCF6DA7F7F5}" type="parTrans" cxnId="{B77C514D-D6CE-448F-BAC7-4CAFC9783D6B}">
      <dgm:prSet/>
      <dgm:spPr/>
      <dgm:t>
        <a:bodyPr/>
        <a:lstStyle/>
        <a:p>
          <a:endParaRPr lang="en-US"/>
        </a:p>
      </dgm:t>
    </dgm:pt>
    <dgm:pt modelId="{3481EF7E-788D-4C4C-9F37-108567EB5F41}" type="sibTrans" cxnId="{B77C514D-D6CE-448F-BAC7-4CAFC9783D6B}">
      <dgm:prSet/>
      <dgm:spPr/>
      <dgm:t>
        <a:bodyPr/>
        <a:lstStyle/>
        <a:p>
          <a:endParaRPr lang="en-US"/>
        </a:p>
      </dgm:t>
    </dgm:pt>
    <dgm:pt modelId="{671E9930-621F-4C11-B938-F701A745CF79}">
      <dgm:prSet custT="1"/>
      <dgm:spPr>
        <a:scene3d>
          <a:camera prst="orthographicFront"/>
          <a:lightRig rig="threePt" dir="t"/>
        </a:scene3d>
        <a:sp3d>
          <a:bevelT prst="angle"/>
        </a:sp3d>
      </dgm:spPr>
      <dgm:t>
        <a:bodyPr/>
        <a:lstStyle/>
        <a:p>
          <a:r>
            <a:rPr lang="en-US" sz="2000" dirty="0"/>
            <a:t>Can improve insert into production</a:t>
          </a:r>
        </a:p>
      </dgm:t>
    </dgm:pt>
    <dgm:pt modelId="{4AE65B0D-A71A-4983-B095-EDCD8D9D2182}" type="parTrans" cxnId="{8FED9B26-02C6-412B-B15C-C0F89F8F3E12}">
      <dgm:prSet/>
      <dgm:spPr/>
      <dgm:t>
        <a:bodyPr/>
        <a:lstStyle/>
        <a:p>
          <a:endParaRPr lang="en-US"/>
        </a:p>
      </dgm:t>
    </dgm:pt>
    <dgm:pt modelId="{3B218895-8447-4EA6-BE2E-9BB1C384E575}" type="sibTrans" cxnId="{8FED9B26-02C6-412B-B15C-C0F89F8F3E12}">
      <dgm:prSet/>
      <dgm:spPr/>
      <dgm:t>
        <a:bodyPr/>
        <a:lstStyle/>
        <a:p>
          <a:endParaRPr lang="en-US"/>
        </a:p>
      </dgm:t>
    </dgm:pt>
    <dgm:pt modelId="{155C987E-5812-4849-B741-06A6C8C5875B}">
      <dgm:prSet custT="1"/>
      <dgm:spPr>
        <a:scene3d>
          <a:camera prst="orthographicFront"/>
          <a:lightRig rig="threePt" dir="t"/>
        </a:scene3d>
        <a:sp3d>
          <a:bevelT prst="angle"/>
        </a:sp3d>
      </dgm:spPr>
      <dgm:t>
        <a:bodyPr/>
        <a:lstStyle/>
        <a:p>
          <a:r>
            <a:rPr lang="en-US" sz="2000" dirty="0"/>
            <a:t>Slower load into SQL Pools</a:t>
          </a:r>
        </a:p>
      </dgm:t>
    </dgm:pt>
    <dgm:pt modelId="{660CC3DE-657A-4137-8DBF-4541C06DC869}" type="parTrans" cxnId="{E214B71A-9292-4579-8AF1-08852329200F}">
      <dgm:prSet/>
      <dgm:spPr/>
      <dgm:t>
        <a:bodyPr/>
        <a:lstStyle/>
        <a:p>
          <a:endParaRPr lang="en-US"/>
        </a:p>
      </dgm:t>
    </dgm:pt>
    <dgm:pt modelId="{066E0161-6FE3-4D4E-9A00-8ACD73F56A11}" type="sibTrans" cxnId="{E214B71A-9292-4579-8AF1-08852329200F}">
      <dgm:prSet/>
      <dgm:spPr/>
      <dgm:t>
        <a:bodyPr/>
        <a:lstStyle/>
        <a:p>
          <a:endParaRPr lang="en-US"/>
        </a:p>
      </dgm:t>
    </dgm:pt>
    <dgm:pt modelId="{46EEBB4F-99EE-467E-9307-8B0694F57467}" type="pres">
      <dgm:prSet presAssocID="{DEF22971-1D80-4164-A497-E26B1CE6A70F}" presName="linear" presStyleCnt="0">
        <dgm:presLayoutVars>
          <dgm:dir/>
          <dgm:resizeHandles val="exact"/>
        </dgm:presLayoutVars>
      </dgm:prSet>
      <dgm:spPr/>
    </dgm:pt>
    <dgm:pt modelId="{83E12E2C-D1C0-4396-A3A1-F0D41AD2DAB8}" type="pres">
      <dgm:prSet presAssocID="{A13115C1-2A02-4116-A5A0-B8D701EDED9C}" presName="comp" presStyleCnt="0"/>
      <dgm:spPr/>
    </dgm:pt>
    <dgm:pt modelId="{C6BFC20C-FA0B-490A-A218-65D26D90E588}" type="pres">
      <dgm:prSet presAssocID="{A13115C1-2A02-4116-A5A0-B8D701EDED9C}" presName="box" presStyleLbl="node1" presStyleIdx="0" presStyleCnt="2" custLinFactNeighborX="-16501" custLinFactNeighborY="1696"/>
      <dgm:spPr/>
    </dgm:pt>
    <dgm:pt modelId="{1569CC84-223F-4E7B-ADC1-734AAB3B09C8}" type="pres">
      <dgm:prSet presAssocID="{A13115C1-2A02-4116-A5A0-B8D701EDED9C}" presName="img" presStyleLbl="fgImgPlac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24000" b="-24000"/>
          </a:stretch>
        </a:blipFill>
      </dgm:spPr>
      <dgm:extLst>
        <a:ext uri="{E40237B7-FDA0-4F09-8148-C483321AD2D9}">
          <dgm14:cNvPr xmlns:dgm14="http://schemas.microsoft.com/office/drawing/2010/diagram" id="0" name="" descr="Gold bars"/>
        </a:ext>
      </dgm:extLst>
    </dgm:pt>
    <dgm:pt modelId="{38C168F0-1FCD-42D6-B785-B5925276C436}" type="pres">
      <dgm:prSet presAssocID="{A13115C1-2A02-4116-A5A0-B8D701EDED9C}" presName="text" presStyleLbl="node1" presStyleIdx="0" presStyleCnt="2">
        <dgm:presLayoutVars>
          <dgm:bulletEnabled val="1"/>
        </dgm:presLayoutVars>
      </dgm:prSet>
      <dgm:spPr/>
    </dgm:pt>
    <dgm:pt modelId="{8B16A594-2D6D-4E0F-8123-E518C18EEC85}" type="pres">
      <dgm:prSet presAssocID="{9C11F9A1-B449-43D8-B8D9-5431C2F10A39}" presName="spacer" presStyleCnt="0"/>
      <dgm:spPr/>
    </dgm:pt>
    <dgm:pt modelId="{C7758CDE-A296-402A-A892-8DC5A380019A}" type="pres">
      <dgm:prSet presAssocID="{08BDA1B3-1F1E-420E-90CD-680D6DA7BC6C}" presName="comp" presStyleCnt="0"/>
      <dgm:spPr/>
    </dgm:pt>
    <dgm:pt modelId="{48D451C6-1038-4F82-8E6E-83473844B0B7}" type="pres">
      <dgm:prSet presAssocID="{08BDA1B3-1F1E-420E-90CD-680D6DA7BC6C}" presName="box" presStyleLbl="node1" presStyleIdx="1" presStyleCnt="2"/>
      <dgm:spPr/>
    </dgm:pt>
    <dgm:pt modelId="{174F6C25-306A-44A7-AE79-D8783256C77C}" type="pres">
      <dgm:prSet presAssocID="{08BDA1B3-1F1E-420E-90CD-680D6DA7BC6C}" presName="img" presStyleLbl="fgImgPlac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24000" b="-24000"/>
          </a:stretch>
        </a:blipFill>
      </dgm:spPr>
      <dgm:extLst>
        <a:ext uri="{E40237B7-FDA0-4F09-8148-C483321AD2D9}">
          <dgm14:cNvPr xmlns:dgm14="http://schemas.microsoft.com/office/drawing/2010/diagram" id="0" name="" descr="Hashtag"/>
        </a:ext>
      </dgm:extLst>
    </dgm:pt>
    <dgm:pt modelId="{8156838B-BF76-428B-A2C8-06C2A57C79B9}" type="pres">
      <dgm:prSet presAssocID="{08BDA1B3-1F1E-420E-90CD-680D6DA7BC6C}" presName="text" presStyleLbl="node1" presStyleIdx="1" presStyleCnt="2">
        <dgm:presLayoutVars>
          <dgm:bulletEnabled val="1"/>
        </dgm:presLayoutVars>
      </dgm:prSet>
      <dgm:spPr/>
    </dgm:pt>
  </dgm:ptLst>
  <dgm:cxnLst>
    <dgm:cxn modelId="{81E9DE11-9512-4A92-A9A8-1410A2578A69}" srcId="{DEF22971-1D80-4164-A497-E26B1CE6A70F}" destId="{A13115C1-2A02-4116-A5A0-B8D701EDED9C}" srcOrd="0" destOrd="0" parTransId="{771A6FF3-6804-40BC-B717-3F45C074D39B}" sibTransId="{9C11F9A1-B449-43D8-B8D9-5431C2F10A39}"/>
    <dgm:cxn modelId="{E214B71A-9292-4579-8AF1-08852329200F}" srcId="{08BDA1B3-1F1E-420E-90CD-680D6DA7BC6C}" destId="{155C987E-5812-4849-B741-06A6C8C5875B}" srcOrd="1" destOrd="0" parTransId="{660CC3DE-657A-4137-8DBF-4541C06DC869}" sibTransId="{066E0161-6FE3-4D4E-9A00-8ACD73F56A11}"/>
    <dgm:cxn modelId="{423C4222-C64D-44BB-9F0C-CC1036AEC3FE}" type="presOf" srcId="{B70EC70F-1C97-499D-A31E-5F1B0DC032A5}" destId="{8156838B-BF76-428B-A2C8-06C2A57C79B9}" srcOrd="1" destOrd="3" presId="urn:microsoft.com/office/officeart/2005/8/layout/vList4"/>
    <dgm:cxn modelId="{B68D4C23-72DC-478A-88DF-65661D67A1DB}" type="presOf" srcId="{671E9930-621F-4C11-B938-F701A745CF79}" destId="{8156838B-BF76-428B-A2C8-06C2A57C79B9}" srcOrd="1" destOrd="1" presId="urn:microsoft.com/office/officeart/2005/8/layout/vList4"/>
    <dgm:cxn modelId="{8FED9B26-02C6-412B-B15C-C0F89F8F3E12}" srcId="{08BDA1B3-1F1E-420E-90CD-680D6DA7BC6C}" destId="{671E9930-621F-4C11-B938-F701A745CF79}" srcOrd="0" destOrd="0" parTransId="{4AE65B0D-A71A-4983-B095-EDCD8D9D2182}" sibTransId="{3B218895-8447-4EA6-BE2E-9BB1C384E575}"/>
    <dgm:cxn modelId="{AB3BA32A-672C-4D8B-9792-DC50A05B5727}" type="presOf" srcId="{155C987E-5812-4849-B741-06A6C8C5875B}" destId="{8156838B-BF76-428B-A2C8-06C2A57C79B9}" srcOrd="1" destOrd="2" presId="urn:microsoft.com/office/officeart/2005/8/layout/vList4"/>
    <dgm:cxn modelId="{87397D3B-1D49-42BA-B6D5-2F75D1AD3C35}" type="presOf" srcId="{A13115C1-2A02-4116-A5A0-B8D701EDED9C}" destId="{38C168F0-1FCD-42D6-B785-B5925276C436}" srcOrd="1" destOrd="0" presId="urn:microsoft.com/office/officeart/2005/8/layout/vList4"/>
    <dgm:cxn modelId="{ED104B48-2BFD-4F51-B9CA-68B2D59F677C}" type="presOf" srcId="{B8A03F70-B93F-4F27-9158-055A8F56057F}" destId="{38C168F0-1FCD-42D6-B785-B5925276C436}" srcOrd="1" destOrd="1" presId="urn:microsoft.com/office/officeart/2005/8/layout/vList4"/>
    <dgm:cxn modelId="{B77C514D-D6CE-448F-BAC7-4CAFC9783D6B}" srcId="{DEF22971-1D80-4164-A497-E26B1CE6A70F}" destId="{08BDA1B3-1F1E-420E-90CD-680D6DA7BC6C}" srcOrd="1" destOrd="0" parTransId="{B04DE534-4AB0-400B-BDCA-3CCF6DA7F7F5}" sibTransId="{3481EF7E-788D-4C4C-9F37-108567EB5F41}"/>
    <dgm:cxn modelId="{BA829F57-909A-4FE7-957E-08456A47F837}" type="presOf" srcId="{B8A03F70-B93F-4F27-9158-055A8F56057F}" destId="{C6BFC20C-FA0B-490A-A218-65D26D90E588}" srcOrd="0" destOrd="1" presId="urn:microsoft.com/office/officeart/2005/8/layout/vList4"/>
    <dgm:cxn modelId="{35059786-3330-450D-B509-86804AFCB7C8}" type="presOf" srcId="{08BDA1B3-1F1E-420E-90CD-680D6DA7BC6C}" destId="{48D451C6-1038-4F82-8E6E-83473844B0B7}" srcOrd="0" destOrd="0" presId="urn:microsoft.com/office/officeart/2005/8/layout/vList4"/>
    <dgm:cxn modelId="{3DF93E8C-D9AC-45EE-8A5A-B34984447748}" srcId="{08BDA1B3-1F1E-420E-90CD-680D6DA7BC6C}" destId="{B70EC70F-1C97-499D-A31E-5F1B0DC032A5}" srcOrd="2" destOrd="0" parTransId="{AB3853C7-32AD-4399-8107-877376288BDD}" sibTransId="{39229571-99A5-4F0F-84DA-F7F7D45084FA}"/>
    <dgm:cxn modelId="{45F40891-CC19-4931-94D1-D6D35C5D2238}" srcId="{A13115C1-2A02-4116-A5A0-B8D701EDED9C}" destId="{B8A03F70-B93F-4F27-9158-055A8F56057F}" srcOrd="0" destOrd="0" parTransId="{F553322A-31CD-4DF4-9877-2BF61B9C3356}" sibTransId="{8043FC8E-1745-43D8-8729-BE40A0061745}"/>
    <dgm:cxn modelId="{4C907891-B6BD-45EF-B26B-C9F9B5A25F03}" type="presOf" srcId="{DEF22971-1D80-4164-A497-E26B1CE6A70F}" destId="{46EEBB4F-99EE-467E-9307-8B0694F57467}" srcOrd="0" destOrd="0" presId="urn:microsoft.com/office/officeart/2005/8/layout/vList4"/>
    <dgm:cxn modelId="{35F9DD97-FA98-4BDD-8791-6F32B8386336}" type="presOf" srcId="{08BDA1B3-1F1E-420E-90CD-680D6DA7BC6C}" destId="{8156838B-BF76-428B-A2C8-06C2A57C79B9}" srcOrd="1" destOrd="0" presId="urn:microsoft.com/office/officeart/2005/8/layout/vList4"/>
    <dgm:cxn modelId="{766C1FA4-2EDE-4840-AF7A-B0847FC5746D}" type="presOf" srcId="{A13115C1-2A02-4116-A5A0-B8D701EDED9C}" destId="{C6BFC20C-FA0B-490A-A218-65D26D90E588}" srcOrd="0" destOrd="0" presId="urn:microsoft.com/office/officeart/2005/8/layout/vList4"/>
    <dgm:cxn modelId="{DECD29A8-65B0-482E-9FF0-12FA16BE18F0}" type="presOf" srcId="{B70EC70F-1C97-499D-A31E-5F1B0DC032A5}" destId="{48D451C6-1038-4F82-8E6E-83473844B0B7}" srcOrd="0" destOrd="3" presId="urn:microsoft.com/office/officeart/2005/8/layout/vList4"/>
    <dgm:cxn modelId="{603C03C8-6290-498B-9ECB-257E9A56273B}" type="presOf" srcId="{671E9930-621F-4C11-B938-F701A745CF79}" destId="{48D451C6-1038-4F82-8E6E-83473844B0B7}" srcOrd="0" destOrd="1" presId="urn:microsoft.com/office/officeart/2005/8/layout/vList4"/>
    <dgm:cxn modelId="{507671FF-6863-46F1-A6CE-991DA6DE17C5}" type="presOf" srcId="{155C987E-5812-4849-B741-06A6C8C5875B}" destId="{48D451C6-1038-4F82-8E6E-83473844B0B7}" srcOrd="0" destOrd="2" presId="urn:microsoft.com/office/officeart/2005/8/layout/vList4"/>
    <dgm:cxn modelId="{A28D2FC4-F7D2-41F9-8B19-227AF5F8603D}" type="presParOf" srcId="{46EEBB4F-99EE-467E-9307-8B0694F57467}" destId="{83E12E2C-D1C0-4396-A3A1-F0D41AD2DAB8}" srcOrd="0" destOrd="0" presId="urn:microsoft.com/office/officeart/2005/8/layout/vList4"/>
    <dgm:cxn modelId="{53C530CA-F9DD-4785-ACBC-F2675875D3F8}" type="presParOf" srcId="{83E12E2C-D1C0-4396-A3A1-F0D41AD2DAB8}" destId="{C6BFC20C-FA0B-490A-A218-65D26D90E588}" srcOrd="0" destOrd="0" presId="urn:microsoft.com/office/officeart/2005/8/layout/vList4"/>
    <dgm:cxn modelId="{1F655AB6-81E6-4A54-A71A-2D87E9EF9A76}" type="presParOf" srcId="{83E12E2C-D1C0-4396-A3A1-F0D41AD2DAB8}" destId="{1569CC84-223F-4E7B-ADC1-734AAB3B09C8}" srcOrd="1" destOrd="0" presId="urn:microsoft.com/office/officeart/2005/8/layout/vList4"/>
    <dgm:cxn modelId="{D88F8874-1D9C-40C6-9105-D52A808C1EF9}" type="presParOf" srcId="{83E12E2C-D1C0-4396-A3A1-F0D41AD2DAB8}" destId="{38C168F0-1FCD-42D6-B785-B5925276C436}" srcOrd="2" destOrd="0" presId="urn:microsoft.com/office/officeart/2005/8/layout/vList4"/>
    <dgm:cxn modelId="{C466C325-B6BD-4C3B-8570-A1A096ECB4E4}" type="presParOf" srcId="{46EEBB4F-99EE-467E-9307-8B0694F57467}" destId="{8B16A594-2D6D-4E0F-8123-E518C18EEC85}" srcOrd="1" destOrd="0" presId="urn:microsoft.com/office/officeart/2005/8/layout/vList4"/>
    <dgm:cxn modelId="{D796ED5B-8BC0-4FB2-A94E-AB133352B9B1}" type="presParOf" srcId="{46EEBB4F-99EE-467E-9307-8B0694F57467}" destId="{C7758CDE-A296-402A-A892-8DC5A380019A}" srcOrd="2" destOrd="0" presId="urn:microsoft.com/office/officeart/2005/8/layout/vList4"/>
    <dgm:cxn modelId="{91968B02-BFE7-45B9-9A47-180525243A73}" type="presParOf" srcId="{C7758CDE-A296-402A-A892-8DC5A380019A}" destId="{48D451C6-1038-4F82-8E6E-83473844B0B7}" srcOrd="0" destOrd="0" presId="urn:microsoft.com/office/officeart/2005/8/layout/vList4"/>
    <dgm:cxn modelId="{29093B60-EE20-443C-9378-3417A18FAC2C}" type="presParOf" srcId="{C7758CDE-A296-402A-A892-8DC5A380019A}" destId="{174F6C25-306A-44A7-AE79-D8783256C77C}" srcOrd="1" destOrd="0" presId="urn:microsoft.com/office/officeart/2005/8/layout/vList4"/>
    <dgm:cxn modelId="{97A0633D-DD09-44A4-ABA2-889F70F17CE8}" type="presParOf" srcId="{C7758CDE-A296-402A-A892-8DC5A380019A}" destId="{8156838B-BF76-428B-A2C8-06C2A57C79B9}"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985183A-17AC-4A94-8AF8-C3EE02C7FEA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2BBFAEA8-F016-410D-87BC-E88DB043760D}">
      <dgm:prSet custT="1"/>
      <dgm:spPr/>
      <dgm:t>
        <a:bodyPr/>
        <a:lstStyle/>
        <a:p>
          <a:r>
            <a:rPr lang="en-US" sz="3600" dirty="0"/>
            <a:t>Allocate Sufficient Resources for CCI operations</a:t>
          </a:r>
        </a:p>
      </dgm:t>
    </dgm:pt>
    <dgm:pt modelId="{9C1A7586-6737-4768-93E6-9530B290059C}" type="parTrans" cxnId="{A25E03B9-5DDA-42F6-BBEE-B8A56E9D131F}">
      <dgm:prSet/>
      <dgm:spPr/>
      <dgm:t>
        <a:bodyPr/>
        <a:lstStyle/>
        <a:p>
          <a:endParaRPr lang="en-US"/>
        </a:p>
      </dgm:t>
    </dgm:pt>
    <dgm:pt modelId="{BF052B1F-6C50-415A-B881-E9D28D9AFD64}" type="sibTrans" cxnId="{A25E03B9-5DDA-42F6-BBEE-B8A56E9D131F}">
      <dgm:prSet/>
      <dgm:spPr/>
      <dgm:t>
        <a:bodyPr/>
        <a:lstStyle/>
        <a:p>
          <a:endParaRPr lang="en-US"/>
        </a:p>
      </dgm:t>
    </dgm:pt>
    <dgm:pt modelId="{61845DB6-1A5E-4DC3-8E35-00944A1B7AE0}">
      <dgm:prSet custT="1"/>
      <dgm:spPr/>
      <dgm:t>
        <a:bodyPr/>
        <a:lstStyle/>
        <a:p>
          <a:r>
            <a:rPr lang="en-US" sz="3600" dirty="0"/>
            <a:t>Avoid Small Loads</a:t>
          </a:r>
        </a:p>
      </dgm:t>
    </dgm:pt>
    <dgm:pt modelId="{9AC68C7C-77D5-4AC1-A0C1-80A3B1FEE768}" type="parTrans" cxnId="{FF281D9F-9A05-45F7-BF14-9779AD5D0764}">
      <dgm:prSet/>
      <dgm:spPr/>
      <dgm:t>
        <a:bodyPr/>
        <a:lstStyle/>
        <a:p>
          <a:endParaRPr lang="en-US"/>
        </a:p>
      </dgm:t>
    </dgm:pt>
    <dgm:pt modelId="{BB7107A9-0CD5-4387-95CB-E8881F631CA5}" type="sibTrans" cxnId="{FF281D9F-9A05-45F7-BF14-9779AD5D0764}">
      <dgm:prSet/>
      <dgm:spPr/>
      <dgm:t>
        <a:bodyPr/>
        <a:lstStyle/>
        <a:p>
          <a:endParaRPr lang="en-US"/>
        </a:p>
      </dgm:t>
    </dgm:pt>
    <dgm:pt modelId="{2CF2C97B-CF5A-4904-B7E1-D71C3194B21B}">
      <dgm:prSet custT="1"/>
      <dgm:spPr/>
      <dgm:t>
        <a:bodyPr/>
        <a:lstStyle/>
        <a:p>
          <a:r>
            <a:rPr lang="en-US" sz="2800" dirty="0"/>
            <a:t>Memory pressure leads to smaller </a:t>
          </a:r>
          <a:r>
            <a:rPr lang="en-US" sz="2800" dirty="0" err="1"/>
            <a:t>rowgroup</a:t>
          </a:r>
          <a:r>
            <a:rPr lang="en-US" sz="2800" dirty="0"/>
            <a:t> size</a:t>
          </a:r>
        </a:p>
      </dgm:t>
    </dgm:pt>
    <dgm:pt modelId="{FED473B2-9676-4A2A-8AEE-43CE093B9D2F}" type="parTrans" cxnId="{C9A24015-C914-45EB-B0EB-3A6B05BEC386}">
      <dgm:prSet/>
      <dgm:spPr/>
      <dgm:t>
        <a:bodyPr/>
        <a:lstStyle/>
        <a:p>
          <a:endParaRPr lang="en-US"/>
        </a:p>
      </dgm:t>
    </dgm:pt>
    <dgm:pt modelId="{DF9FBCE0-8DD8-4251-A60B-B02C6A10F699}" type="sibTrans" cxnId="{C9A24015-C914-45EB-B0EB-3A6B05BEC386}">
      <dgm:prSet/>
      <dgm:spPr/>
      <dgm:t>
        <a:bodyPr/>
        <a:lstStyle/>
        <a:p>
          <a:endParaRPr lang="en-US"/>
        </a:p>
      </dgm:t>
    </dgm:pt>
    <dgm:pt modelId="{0C73D8E2-E239-4A9A-A4A7-8DC68423A7CA}">
      <dgm:prSet custT="1"/>
      <dgm:spPr/>
      <dgm:t>
        <a:bodyPr/>
        <a:lstStyle/>
        <a:p>
          <a:r>
            <a:rPr lang="en-US" sz="2800" dirty="0"/>
            <a:t>Best efficiency is 1,048,576 rows per </a:t>
          </a:r>
          <a:r>
            <a:rPr lang="en-US" sz="2800" dirty="0" err="1"/>
            <a:t>rowgroup</a:t>
          </a:r>
          <a:endParaRPr lang="en-US" sz="2800" dirty="0"/>
        </a:p>
      </dgm:t>
    </dgm:pt>
    <dgm:pt modelId="{C967245A-740A-4732-BEE5-DCE41D6D3206}" type="parTrans" cxnId="{12734925-61E0-4D02-923F-34BB5B0B4A2E}">
      <dgm:prSet/>
      <dgm:spPr/>
      <dgm:t>
        <a:bodyPr/>
        <a:lstStyle/>
        <a:p>
          <a:endParaRPr lang="en-US"/>
        </a:p>
      </dgm:t>
    </dgm:pt>
    <dgm:pt modelId="{7BC7A8BD-8DA6-4529-BEBD-A79BBCFF29B9}" type="sibTrans" cxnId="{12734925-61E0-4D02-923F-34BB5B0B4A2E}">
      <dgm:prSet/>
      <dgm:spPr/>
      <dgm:t>
        <a:bodyPr/>
        <a:lstStyle/>
        <a:p>
          <a:endParaRPr lang="en-US"/>
        </a:p>
      </dgm:t>
    </dgm:pt>
    <dgm:pt modelId="{A97DBCCA-7A9F-47B0-8BB7-660D7616E465}">
      <dgm:prSet custT="1"/>
      <dgm:spPr/>
      <dgm:t>
        <a:bodyPr/>
        <a:lstStyle/>
        <a:p>
          <a:r>
            <a:rPr lang="en-US" sz="2800" dirty="0"/>
            <a:t>Loading &lt; 102,400 rows per batch (per Distribution) loads data into the delta-store</a:t>
          </a:r>
        </a:p>
      </dgm:t>
    </dgm:pt>
    <dgm:pt modelId="{F4C0BE8A-CFA0-4E13-8AA1-6C44830105FB}" type="parTrans" cxnId="{149428BB-98BC-4CF5-AD25-06247C2EEC8E}">
      <dgm:prSet/>
      <dgm:spPr/>
      <dgm:t>
        <a:bodyPr/>
        <a:lstStyle/>
        <a:p>
          <a:endParaRPr lang="en-US"/>
        </a:p>
      </dgm:t>
    </dgm:pt>
    <dgm:pt modelId="{2A5805FE-059F-4EFF-946F-2A89201EDB75}" type="sibTrans" cxnId="{149428BB-98BC-4CF5-AD25-06247C2EEC8E}">
      <dgm:prSet/>
      <dgm:spPr/>
      <dgm:t>
        <a:bodyPr/>
        <a:lstStyle/>
        <a:p>
          <a:endParaRPr lang="en-US"/>
        </a:p>
      </dgm:t>
    </dgm:pt>
    <dgm:pt modelId="{C432A8B9-15CF-46A0-9B97-64A60073D7DC}" type="pres">
      <dgm:prSet presAssocID="{6985183A-17AC-4A94-8AF8-C3EE02C7FEAF}" presName="linear" presStyleCnt="0">
        <dgm:presLayoutVars>
          <dgm:dir/>
          <dgm:animLvl val="lvl"/>
          <dgm:resizeHandles val="exact"/>
        </dgm:presLayoutVars>
      </dgm:prSet>
      <dgm:spPr/>
    </dgm:pt>
    <dgm:pt modelId="{12518852-C107-41FD-B54E-5F7DFD473CA8}" type="pres">
      <dgm:prSet presAssocID="{2BBFAEA8-F016-410D-87BC-E88DB043760D}" presName="parentLin" presStyleCnt="0"/>
      <dgm:spPr/>
    </dgm:pt>
    <dgm:pt modelId="{BC4B50FC-C32E-4797-AA19-C0FF6B045E8D}" type="pres">
      <dgm:prSet presAssocID="{2BBFAEA8-F016-410D-87BC-E88DB043760D}" presName="parentLeftMargin" presStyleLbl="node1" presStyleIdx="0" presStyleCnt="2"/>
      <dgm:spPr/>
    </dgm:pt>
    <dgm:pt modelId="{C7017B4D-D046-4A0F-BE0A-8E60207124FF}" type="pres">
      <dgm:prSet presAssocID="{2BBFAEA8-F016-410D-87BC-E88DB043760D}" presName="parentText" presStyleLbl="node1" presStyleIdx="0" presStyleCnt="2" custScaleX="135403">
        <dgm:presLayoutVars>
          <dgm:chMax val="0"/>
          <dgm:bulletEnabled val="1"/>
        </dgm:presLayoutVars>
      </dgm:prSet>
      <dgm:spPr/>
    </dgm:pt>
    <dgm:pt modelId="{A3EA030B-A002-446D-BB2D-6CE9A8771E75}" type="pres">
      <dgm:prSet presAssocID="{2BBFAEA8-F016-410D-87BC-E88DB043760D}" presName="negativeSpace" presStyleCnt="0"/>
      <dgm:spPr/>
    </dgm:pt>
    <dgm:pt modelId="{DBF1A9C9-CD6E-47B8-A465-49A7A61B5DFC}" type="pres">
      <dgm:prSet presAssocID="{2BBFAEA8-F016-410D-87BC-E88DB043760D}" presName="childText" presStyleLbl="conFgAcc1" presStyleIdx="0" presStyleCnt="2">
        <dgm:presLayoutVars>
          <dgm:bulletEnabled val="1"/>
        </dgm:presLayoutVars>
      </dgm:prSet>
      <dgm:spPr/>
    </dgm:pt>
    <dgm:pt modelId="{49808FFE-8DEB-4C85-9C86-7BE73149C49D}" type="pres">
      <dgm:prSet presAssocID="{BF052B1F-6C50-415A-B881-E9D28D9AFD64}" presName="spaceBetweenRectangles" presStyleCnt="0"/>
      <dgm:spPr/>
    </dgm:pt>
    <dgm:pt modelId="{F98D7769-6761-4A69-A23D-7FE1361A11C2}" type="pres">
      <dgm:prSet presAssocID="{61845DB6-1A5E-4DC3-8E35-00944A1B7AE0}" presName="parentLin" presStyleCnt="0"/>
      <dgm:spPr/>
    </dgm:pt>
    <dgm:pt modelId="{2023C482-E48D-4E9C-9EED-BCC26EE9A312}" type="pres">
      <dgm:prSet presAssocID="{61845DB6-1A5E-4DC3-8E35-00944A1B7AE0}" presName="parentLeftMargin" presStyleLbl="node1" presStyleIdx="0" presStyleCnt="2"/>
      <dgm:spPr/>
    </dgm:pt>
    <dgm:pt modelId="{05F78820-7DB3-46FF-9EF9-BD2921268155}" type="pres">
      <dgm:prSet presAssocID="{61845DB6-1A5E-4DC3-8E35-00944A1B7AE0}" presName="parentText" presStyleLbl="node1" presStyleIdx="1" presStyleCnt="2" custScaleX="136300">
        <dgm:presLayoutVars>
          <dgm:chMax val="0"/>
          <dgm:bulletEnabled val="1"/>
        </dgm:presLayoutVars>
      </dgm:prSet>
      <dgm:spPr/>
    </dgm:pt>
    <dgm:pt modelId="{7C6827C6-2984-4DA9-BF34-82631D61FE7C}" type="pres">
      <dgm:prSet presAssocID="{61845DB6-1A5E-4DC3-8E35-00944A1B7AE0}" presName="negativeSpace" presStyleCnt="0"/>
      <dgm:spPr/>
    </dgm:pt>
    <dgm:pt modelId="{BA43EF5B-338C-4B83-AE8C-0380E9AC7C11}" type="pres">
      <dgm:prSet presAssocID="{61845DB6-1A5E-4DC3-8E35-00944A1B7AE0}" presName="childText" presStyleLbl="conFgAcc1" presStyleIdx="1" presStyleCnt="2">
        <dgm:presLayoutVars>
          <dgm:bulletEnabled val="1"/>
        </dgm:presLayoutVars>
      </dgm:prSet>
      <dgm:spPr/>
    </dgm:pt>
  </dgm:ptLst>
  <dgm:cxnLst>
    <dgm:cxn modelId="{31044300-DFFA-4566-9882-615D8F100470}" type="presOf" srcId="{61845DB6-1A5E-4DC3-8E35-00944A1B7AE0}" destId="{2023C482-E48D-4E9C-9EED-BCC26EE9A312}" srcOrd="0" destOrd="0" presId="urn:microsoft.com/office/officeart/2005/8/layout/list1"/>
    <dgm:cxn modelId="{C9A24015-C914-45EB-B0EB-3A6B05BEC386}" srcId="{2BBFAEA8-F016-410D-87BC-E88DB043760D}" destId="{2CF2C97B-CF5A-4904-B7E1-D71C3194B21B}" srcOrd="0" destOrd="0" parTransId="{FED473B2-9676-4A2A-8AEE-43CE093B9D2F}" sibTransId="{DF9FBCE0-8DD8-4251-A60B-B02C6A10F699}"/>
    <dgm:cxn modelId="{12734925-61E0-4D02-923F-34BB5B0B4A2E}" srcId="{61845DB6-1A5E-4DC3-8E35-00944A1B7AE0}" destId="{0C73D8E2-E239-4A9A-A4A7-8DC68423A7CA}" srcOrd="1" destOrd="0" parTransId="{C967245A-740A-4732-BEE5-DCE41D6D3206}" sibTransId="{7BC7A8BD-8DA6-4529-BEBD-A79BBCFF29B9}"/>
    <dgm:cxn modelId="{AAE34D53-EA0F-4025-98AF-6EE68DB3E65E}" type="presOf" srcId="{2BBFAEA8-F016-410D-87BC-E88DB043760D}" destId="{BC4B50FC-C32E-4797-AA19-C0FF6B045E8D}" srcOrd="0" destOrd="0" presId="urn:microsoft.com/office/officeart/2005/8/layout/list1"/>
    <dgm:cxn modelId="{FCB25C92-5110-48DF-B465-B1AA6DC7D859}" type="presOf" srcId="{2CF2C97B-CF5A-4904-B7E1-D71C3194B21B}" destId="{DBF1A9C9-CD6E-47B8-A465-49A7A61B5DFC}" srcOrd="0" destOrd="0" presId="urn:microsoft.com/office/officeart/2005/8/layout/list1"/>
    <dgm:cxn modelId="{FF281D9F-9A05-45F7-BF14-9779AD5D0764}" srcId="{6985183A-17AC-4A94-8AF8-C3EE02C7FEAF}" destId="{61845DB6-1A5E-4DC3-8E35-00944A1B7AE0}" srcOrd="1" destOrd="0" parTransId="{9AC68C7C-77D5-4AC1-A0C1-80A3B1FEE768}" sibTransId="{BB7107A9-0CD5-4387-95CB-E8881F631CA5}"/>
    <dgm:cxn modelId="{AABBDAAF-4A64-4960-AF83-B488CD98F4DB}" type="presOf" srcId="{6985183A-17AC-4A94-8AF8-C3EE02C7FEAF}" destId="{C432A8B9-15CF-46A0-9B97-64A60073D7DC}" srcOrd="0" destOrd="0" presId="urn:microsoft.com/office/officeart/2005/8/layout/list1"/>
    <dgm:cxn modelId="{5CCF9BB6-C38D-4A9D-8628-478CB99ADD45}" type="presOf" srcId="{61845DB6-1A5E-4DC3-8E35-00944A1B7AE0}" destId="{05F78820-7DB3-46FF-9EF9-BD2921268155}" srcOrd="1" destOrd="0" presId="urn:microsoft.com/office/officeart/2005/8/layout/list1"/>
    <dgm:cxn modelId="{A25E03B9-5DDA-42F6-BBEE-B8A56E9D131F}" srcId="{6985183A-17AC-4A94-8AF8-C3EE02C7FEAF}" destId="{2BBFAEA8-F016-410D-87BC-E88DB043760D}" srcOrd="0" destOrd="0" parTransId="{9C1A7586-6737-4768-93E6-9530B290059C}" sibTransId="{BF052B1F-6C50-415A-B881-E9D28D9AFD64}"/>
    <dgm:cxn modelId="{149428BB-98BC-4CF5-AD25-06247C2EEC8E}" srcId="{61845DB6-1A5E-4DC3-8E35-00944A1B7AE0}" destId="{A97DBCCA-7A9F-47B0-8BB7-660D7616E465}" srcOrd="0" destOrd="0" parTransId="{F4C0BE8A-CFA0-4E13-8AA1-6C44830105FB}" sibTransId="{2A5805FE-059F-4EFF-946F-2A89201EDB75}"/>
    <dgm:cxn modelId="{0671D8C4-506F-438B-8CC2-AA0F4AA091A5}" type="presOf" srcId="{A97DBCCA-7A9F-47B0-8BB7-660D7616E465}" destId="{BA43EF5B-338C-4B83-AE8C-0380E9AC7C11}" srcOrd="0" destOrd="0" presId="urn:microsoft.com/office/officeart/2005/8/layout/list1"/>
    <dgm:cxn modelId="{B95089F3-53D6-4130-AED3-1E91F44B8459}" type="presOf" srcId="{0C73D8E2-E239-4A9A-A4A7-8DC68423A7CA}" destId="{BA43EF5B-338C-4B83-AE8C-0380E9AC7C11}" srcOrd="0" destOrd="1" presId="urn:microsoft.com/office/officeart/2005/8/layout/list1"/>
    <dgm:cxn modelId="{09D3FAFD-E86B-4287-9014-00A45AFD8ABA}" type="presOf" srcId="{2BBFAEA8-F016-410D-87BC-E88DB043760D}" destId="{C7017B4D-D046-4A0F-BE0A-8E60207124FF}" srcOrd="1" destOrd="0" presId="urn:microsoft.com/office/officeart/2005/8/layout/list1"/>
    <dgm:cxn modelId="{ABE5A5EC-E9F7-4B89-8855-9B4A389A0216}" type="presParOf" srcId="{C432A8B9-15CF-46A0-9B97-64A60073D7DC}" destId="{12518852-C107-41FD-B54E-5F7DFD473CA8}" srcOrd="0" destOrd="0" presId="urn:microsoft.com/office/officeart/2005/8/layout/list1"/>
    <dgm:cxn modelId="{863BE612-6242-44B8-9C7E-6E7ACFFE9C6C}" type="presParOf" srcId="{12518852-C107-41FD-B54E-5F7DFD473CA8}" destId="{BC4B50FC-C32E-4797-AA19-C0FF6B045E8D}" srcOrd="0" destOrd="0" presId="urn:microsoft.com/office/officeart/2005/8/layout/list1"/>
    <dgm:cxn modelId="{075F9B80-2AEC-4BA4-9BBA-75D8D32FF45E}" type="presParOf" srcId="{12518852-C107-41FD-B54E-5F7DFD473CA8}" destId="{C7017B4D-D046-4A0F-BE0A-8E60207124FF}" srcOrd="1" destOrd="0" presId="urn:microsoft.com/office/officeart/2005/8/layout/list1"/>
    <dgm:cxn modelId="{03CF24B8-6C25-4765-93BC-F2BD67CB36FD}" type="presParOf" srcId="{C432A8B9-15CF-46A0-9B97-64A60073D7DC}" destId="{A3EA030B-A002-446D-BB2D-6CE9A8771E75}" srcOrd="1" destOrd="0" presId="urn:microsoft.com/office/officeart/2005/8/layout/list1"/>
    <dgm:cxn modelId="{AC2E5A84-E442-4326-8DF7-346AC6BFE8D5}" type="presParOf" srcId="{C432A8B9-15CF-46A0-9B97-64A60073D7DC}" destId="{DBF1A9C9-CD6E-47B8-A465-49A7A61B5DFC}" srcOrd="2" destOrd="0" presId="urn:microsoft.com/office/officeart/2005/8/layout/list1"/>
    <dgm:cxn modelId="{F707A463-12B9-4736-ABC1-1F9BEFB7835E}" type="presParOf" srcId="{C432A8B9-15CF-46A0-9B97-64A60073D7DC}" destId="{49808FFE-8DEB-4C85-9C86-7BE73149C49D}" srcOrd="3" destOrd="0" presId="urn:microsoft.com/office/officeart/2005/8/layout/list1"/>
    <dgm:cxn modelId="{94261797-EBD9-4119-978C-A94E14E2FA23}" type="presParOf" srcId="{C432A8B9-15CF-46A0-9B97-64A60073D7DC}" destId="{F98D7769-6761-4A69-A23D-7FE1361A11C2}" srcOrd="4" destOrd="0" presId="urn:microsoft.com/office/officeart/2005/8/layout/list1"/>
    <dgm:cxn modelId="{D846465C-9515-45E2-8F97-A190CDDA34F9}" type="presParOf" srcId="{F98D7769-6761-4A69-A23D-7FE1361A11C2}" destId="{2023C482-E48D-4E9C-9EED-BCC26EE9A312}" srcOrd="0" destOrd="0" presId="urn:microsoft.com/office/officeart/2005/8/layout/list1"/>
    <dgm:cxn modelId="{38532967-C209-4F16-B7D4-DF42C4D8BA6E}" type="presParOf" srcId="{F98D7769-6761-4A69-A23D-7FE1361A11C2}" destId="{05F78820-7DB3-46FF-9EF9-BD2921268155}" srcOrd="1" destOrd="0" presId="urn:microsoft.com/office/officeart/2005/8/layout/list1"/>
    <dgm:cxn modelId="{C798F117-CBB2-4F32-BED0-B47E497346EA}" type="presParOf" srcId="{C432A8B9-15CF-46A0-9B97-64A60073D7DC}" destId="{7C6827C6-2984-4DA9-BF34-82631D61FE7C}" srcOrd="5" destOrd="0" presId="urn:microsoft.com/office/officeart/2005/8/layout/list1"/>
    <dgm:cxn modelId="{C081814D-28D4-4E76-BB69-90910D34F707}" type="presParOf" srcId="{C432A8B9-15CF-46A0-9B97-64A60073D7DC}" destId="{BA43EF5B-338C-4B83-AE8C-0380E9AC7C11}"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6985183A-17AC-4A94-8AF8-C3EE02C7FEAF}" type="doc">
      <dgm:prSet loTypeId="urn:microsoft.com/office/officeart/2018/5/layout/IconCircleLabelList" loCatId="icon" qsTypeId="urn:microsoft.com/office/officeart/2005/8/quickstyle/simple1" qsCatId="simple" csTypeId="urn:microsoft.com/office/officeart/2005/8/colors/accent1_2" csCatId="accent1" phldr="1"/>
      <dgm:spPr/>
      <dgm:t>
        <a:bodyPr/>
        <a:lstStyle/>
        <a:p>
          <a:endParaRPr lang="en-US"/>
        </a:p>
      </dgm:t>
    </dgm:pt>
    <dgm:pt modelId="{824B9F55-4AC3-46E9-B7A9-D59F004F4FFA}">
      <dgm:prSet/>
      <dgm:spPr/>
      <dgm:t>
        <a:bodyPr/>
        <a:lstStyle/>
        <a:p>
          <a:pPr>
            <a:lnSpc>
              <a:spcPct val="100000"/>
            </a:lnSpc>
            <a:defRPr cap="all"/>
          </a:pPr>
          <a:r>
            <a:rPr lang="en-US" cap="none" dirty="0"/>
            <a:t>Fewer Columns</a:t>
          </a:r>
        </a:p>
      </dgm:t>
    </dgm:pt>
    <dgm:pt modelId="{648D0083-9E9F-47B2-AB85-42AEF19E74C5}" type="parTrans" cxnId="{A9B54421-EA5D-483A-8700-619502D0FDB8}">
      <dgm:prSet/>
      <dgm:spPr/>
      <dgm:t>
        <a:bodyPr/>
        <a:lstStyle/>
        <a:p>
          <a:endParaRPr lang="en-US"/>
        </a:p>
      </dgm:t>
    </dgm:pt>
    <dgm:pt modelId="{9DFBEE94-520E-4A84-8667-5D5D98131B1A}" type="sibTrans" cxnId="{A9B54421-EA5D-483A-8700-619502D0FDB8}">
      <dgm:prSet/>
      <dgm:spPr/>
      <dgm:t>
        <a:bodyPr/>
        <a:lstStyle/>
        <a:p>
          <a:endParaRPr lang="en-US"/>
        </a:p>
      </dgm:t>
    </dgm:pt>
    <dgm:pt modelId="{484969B9-C607-400C-ACDD-DAB34E0D5EE1}">
      <dgm:prSet/>
      <dgm:spPr/>
      <dgm:t>
        <a:bodyPr/>
        <a:lstStyle/>
        <a:p>
          <a:pPr>
            <a:lnSpc>
              <a:spcPct val="100000"/>
            </a:lnSpc>
            <a:defRPr cap="all"/>
          </a:pPr>
          <a:r>
            <a:rPr lang="en-US" cap="none" dirty="0"/>
            <a:t>Fewer String Columns</a:t>
          </a:r>
        </a:p>
      </dgm:t>
    </dgm:pt>
    <dgm:pt modelId="{CE590722-A1FF-486F-8526-F6F9E6515B22}" type="parTrans" cxnId="{757637AA-8475-4961-B072-B308C799434E}">
      <dgm:prSet/>
      <dgm:spPr/>
      <dgm:t>
        <a:bodyPr/>
        <a:lstStyle/>
        <a:p>
          <a:endParaRPr lang="en-US"/>
        </a:p>
      </dgm:t>
    </dgm:pt>
    <dgm:pt modelId="{3F26A77D-FB37-49A2-B12F-6D2E427119BC}" type="sibTrans" cxnId="{757637AA-8475-4961-B072-B308C799434E}">
      <dgm:prSet/>
      <dgm:spPr/>
      <dgm:t>
        <a:bodyPr/>
        <a:lstStyle/>
        <a:p>
          <a:endParaRPr lang="en-US"/>
        </a:p>
      </dgm:t>
    </dgm:pt>
    <dgm:pt modelId="{F953C78F-67E6-4151-92A2-818C4F4ACCDD}">
      <dgm:prSet/>
      <dgm:spPr/>
      <dgm:t>
        <a:bodyPr/>
        <a:lstStyle/>
        <a:p>
          <a:pPr>
            <a:lnSpc>
              <a:spcPct val="100000"/>
            </a:lnSpc>
            <a:defRPr cap="all"/>
          </a:pPr>
          <a:r>
            <a:rPr lang="en-US" cap="none" dirty="0"/>
            <a:t>Avoid Over-Partitioning</a:t>
          </a:r>
        </a:p>
      </dgm:t>
    </dgm:pt>
    <dgm:pt modelId="{4E13B2FB-C2D6-4893-A50C-88BECD5F1B57}" type="parTrans" cxnId="{90CD28B6-0FE8-4C5D-A246-1176777A27AA}">
      <dgm:prSet/>
      <dgm:spPr/>
      <dgm:t>
        <a:bodyPr/>
        <a:lstStyle/>
        <a:p>
          <a:endParaRPr lang="en-US"/>
        </a:p>
      </dgm:t>
    </dgm:pt>
    <dgm:pt modelId="{BABCEE83-D01F-4A73-A487-38F200E34240}" type="sibTrans" cxnId="{90CD28B6-0FE8-4C5D-A246-1176777A27AA}">
      <dgm:prSet/>
      <dgm:spPr/>
      <dgm:t>
        <a:bodyPr/>
        <a:lstStyle/>
        <a:p>
          <a:endParaRPr lang="en-US"/>
        </a:p>
      </dgm:t>
    </dgm:pt>
    <dgm:pt modelId="{E8790448-6B67-4B41-A07C-C1272EF5957F}">
      <dgm:prSet/>
      <dgm:spPr/>
      <dgm:t>
        <a:bodyPr/>
        <a:lstStyle/>
        <a:p>
          <a:pPr>
            <a:lnSpc>
              <a:spcPct val="100000"/>
            </a:lnSpc>
            <a:defRPr cap="all"/>
          </a:pPr>
          <a:r>
            <a:rPr lang="en-US" cap="none" dirty="0"/>
            <a:t>Simplify the Load Query</a:t>
          </a:r>
        </a:p>
      </dgm:t>
    </dgm:pt>
    <dgm:pt modelId="{5F5B887C-9724-4839-BFB2-7F5892EA8FF9}" type="parTrans" cxnId="{9F090E3C-AD31-48E1-AEB1-61F1FF89CE7E}">
      <dgm:prSet/>
      <dgm:spPr/>
      <dgm:t>
        <a:bodyPr/>
        <a:lstStyle/>
        <a:p>
          <a:endParaRPr lang="en-US"/>
        </a:p>
      </dgm:t>
    </dgm:pt>
    <dgm:pt modelId="{64D4051C-2F82-48A6-BA22-E6F211114312}" type="sibTrans" cxnId="{9F090E3C-AD31-48E1-AEB1-61F1FF89CE7E}">
      <dgm:prSet/>
      <dgm:spPr/>
      <dgm:t>
        <a:bodyPr/>
        <a:lstStyle/>
        <a:p>
          <a:endParaRPr lang="en-US"/>
        </a:p>
      </dgm:t>
    </dgm:pt>
    <dgm:pt modelId="{9C11CAF9-9F2C-4710-A29A-00975A29F942}" type="pres">
      <dgm:prSet presAssocID="{6985183A-17AC-4A94-8AF8-C3EE02C7FEAF}" presName="root" presStyleCnt="0">
        <dgm:presLayoutVars>
          <dgm:dir/>
          <dgm:resizeHandles val="exact"/>
        </dgm:presLayoutVars>
      </dgm:prSet>
      <dgm:spPr/>
    </dgm:pt>
    <dgm:pt modelId="{B53AB2D2-CA69-4929-9A7B-506244E6B129}" type="pres">
      <dgm:prSet presAssocID="{824B9F55-4AC3-46E9-B7A9-D59F004F4FFA}" presName="compNode" presStyleCnt="0"/>
      <dgm:spPr/>
    </dgm:pt>
    <dgm:pt modelId="{E1664C89-6F60-4511-A68B-55672B3FA338}" type="pres">
      <dgm:prSet presAssocID="{824B9F55-4AC3-46E9-B7A9-D59F004F4FFA}" presName="iconBgRect" presStyleLbl="bgShp" presStyleIdx="0" presStyleCnt="4"/>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pt>
    <dgm:pt modelId="{D0522908-9EDC-4E83-B730-9AD411BA9A5C}" type="pres">
      <dgm:prSet presAssocID="{824B9F55-4AC3-46E9-B7A9-D59F004F4FFA}"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effectLst>
          <a:outerShdw blurRad="76200" dist="12700" dir="8100000" sy="-23000" kx="800400" algn="br" rotWithShape="0">
            <a:prstClr val="black">
              <a:alpha val="20000"/>
            </a:prstClr>
          </a:outerShdw>
        </a:effectLst>
        <a:scene3d>
          <a:camera prst="orthographicFront"/>
          <a:lightRig rig="threePt" dir="t"/>
        </a:scene3d>
        <a:sp3d>
          <a:bevelT prst="angle"/>
        </a:sp3d>
      </dgm:spPr>
      <dgm:extLst>
        <a:ext uri="{E40237B7-FDA0-4F09-8148-C483321AD2D9}">
          <dgm14:cNvPr xmlns:dgm14="http://schemas.microsoft.com/office/drawing/2010/diagram" id="0" name="" descr="Table"/>
        </a:ext>
      </dgm:extLst>
    </dgm:pt>
    <dgm:pt modelId="{94A8E3D5-C48A-455E-9FB3-325BA2199485}" type="pres">
      <dgm:prSet presAssocID="{824B9F55-4AC3-46E9-B7A9-D59F004F4FFA}" presName="spaceRect" presStyleCnt="0"/>
      <dgm:spPr/>
    </dgm:pt>
    <dgm:pt modelId="{327DC837-4BF7-4C43-84B1-AB82E1C39A04}" type="pres">
      <dgm:prSet presAssocID="{824B9F55-4AC3-46E9-B7A9-D59F004F4FFA}" presName="textRect" presStyleLbl="revTx" presStyleIdx="0" presStyleCnt="4">
        <dgm:presLayoutVars>
          <dgm:chMax val="1"/>
          <dgm:chPref val="1"/>
        </dgm:presLayoutVars>
      </dgm:prSet>
      <dgm:spPr/>
    </dgm:pt>
    <dgm:pt modelId="{285AFBF0-D8AF-4CF2-8206-4235783861B0}" type="pres">
      <dgm:prSet presAssocID="{9DFBEE94-520E-4A84-8667-5D5D98131B1A}" presName="sibTrans" presStyleCnt="0"/>
      <dgm:spPr/>
    </dgm:pt>
    <dgm:pt modelId="{2161790A-541B-4F81-948C-A60FB95742AE}" type="pres">
      <dgm:prSet presAssocID="{484969B9-C607-400C-ACDD-DAB34E0D5EE1}" presName="compNode" presStyleCnt="0"/>
      <dgm:spPr/>
    </dgm:pt>
    <dgm:pt modelId="{8FB97F6D-5892-4092-A735-4689C503E5F3}" type="pres">
      <dgm:prSet presAssocID="{484969B9-C607-400C-ACDD-DAB34E0D5EE1}" presName="iconBgRect" presStyleLbl="bgShp" presStyleIdx="1" presStyleCnt="4"/>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pt>
    <dgm:pt modelId="{E9C0C390-7009-4DD7-B6B0-3934162BF39A}" type="pres">
      <dgm:prSet presAssocID="{484969B9-C607-400C-ACDD-DAB34E0D5EE1}"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effectLst>
          <a:outerShdw blurRad="76200" dist="12700" dir="8100000" sy="-23000" kx="800400" algn="br" rotWithShape="0">
            <a:prstClr val="black">
              <a:alpha val="20000"/>
            </a:prstClr>
          </a:outerShdw>
        </a:effectLst>
        <a:scene3d>
          <a:camera prst="orthographicFront"/>
          <a:lightRig rig="threePt" dir="t"/>
        </a:scene3d>
        <a:sp3d>
          <a:bevelT prst="angle"/>
        </a:sp3d>
      </dgm:spPr>
      <dgm:extLst>
        <a:ext uri="{E40237B7-FDA0-4F09-8148-C483321AD2D9}">
          <dgm14:cNvPr xmlns:dgm14="http://schemas.microsoft.com/office/drawing/2010/diagram" id="0" name="" descr="Document"/>
        </a:ext>
      </dgm:extLst>
    </dgm:pt>
    <dgm:pt modelId="{F97F6571-C844-49C4-866C-EF79E5B5030C}" type="pres">
      <dgm:prSet presAssocID="{484969B9-C607-400C-ACDD-DAB34E0D5EE1}" presName="spaceRect" presStyleCnt="0"/>
      <dgm:spPr/>
    </dgm:pt>
    <dgm:pt modelId="{47823F25-8991-485F-A547-5A60B185C999}" type="pres">
      <dgm:prSet presAssocID="{484969B9-C607-400C-ACDD-DAB34E0D5EE1}" presName="textRect" presStyleLbl="revTx" presStyleIdx="1" presStyleCnt="4">
        <dgm:presLayoutVars>
          <dgm:chMax val="1"/>
          <dgm:chPref val="1"/>
        </dgm:presLayoutVars>
      </dgm:prSet>
      <dgm:spPr/>
    </dgm:pt>
    <dgm:pt modelId="{5C63D38E-88C7-4CD7-926A-E3CDE2FF1223}" type="pres">
      <dgm:prSet presAssocID="{3F26A77D-FB37-49A2-B12F-6D2E427119BC}" presName="sibTrans" presStyleCnt="0"/>
      <dgm:spPr/>
    </dgm:pt>
    <dgm:pt modelId="{CA7FD103-7D67-438D-97AB-0CB73738A811}" type="pres">
      <dgm:prSet presAssocID="{F953C78F-67E6-4151-92A2-818C4F4ACCDD}" presName="compNode" presStyleCnt="0"/>
      <dgm:spPr/>
    </dgm:pt>
    <dgm:pt modelId="{20BC450A-41FB-4CFB-A08E-6029D9801E43}" type="pres">
      <dgm:prSet presAssocID="{F953C78F-67E6-4151-92A2-818C4F4ACCDD}" presName="iconBgRect" presStyleLbl="bgShp" presStyleIdx="2" presStyleCnt="4"/>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pt>
    <dgm:pt modelId="{59D5FBF7-4C05-4F8D-906B-9076546B4B2E}" type="pres">
      <dgm:prSet presAssocID="{F953C78F-67E6-4151-92A2-818C4F4ACCDD}" presName="iconRect" presStyleLbl="node1" presStyleIdx="2" presStyleCnt="4"/>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effectLst>
          <a:outerShdw blurRad="76200" dist="12700" dir="8100000" sy="-23000" kx="800400" algn="br" rotWithShape="0">
            <a:prstClr val="black">
              <a:alpha val="20000"/>
            </a:prstClr>
          </a:outerShdw>
        </a:effectLst>
        <a:scene3d>
          <a:camera prst="orthographicFront"/>
          <a:lightRig rig="threePt" dir="t"/>
        </a:scene3d>
        <a:sp3d>
          <a:bevelT prst="angle"/>
        </a:sp3d>
      </dgm:spPr>
      <dgm:extLst>
        <a:ext uri="{E40237B7-FDA0-4F09-8148-C483321AD2D9}">
          <dgm14:cNvPr xmlns:dgm14="http://schemas.microsoft.com/office/drawing/2010/diagram" id="0" name="" descr="Cut"/>
        </a:ext>
      </dgm:extLst>
    </dgm:pt>
    <dgm:pt modelId="{8F30BEB8-E508-47A2-BFA5-65146A1DC698}" type="pres">
      <dgm:prSet presAssocID="{F953C78F-67E6-4151-92A2-818C4F4ACCDD}" presName="spaceRect" presStyleCnt="0"/>
      <dgm:spPr/>
    </dgm:pt>
    <dgm:pt modelId="{4811FCBB-2301-458A-918A-BED720332588}" type="pres">
      <dgm:prSet presAssocID="{F953C78F-67E6-4151-92A2-818C4F4ACCDD}" presName="textRect" presStyleLbl="revTx" presStyleIdx="2" presStyleCnt="4">
        <dgm:presLayoutVars>
          <dgm:chMax val="1"/>
          <dgm:chPref val="1"/>
        </dgm:presLayoutVars>
      </dgm:prSet>
      <dgm:spPr/>
    </dgm:pt>
    <dgm:pt modelId="{6EDFDD9F-9062-41C0-B98B-229C8CB1B36D}" type="pres">
      <dgm:prSet presAssocID="{BABCEE83-D01F-4A73-A487-38F200E34240}" presName="sibTrans" presStyleCnt="0"/>
      <dgm:spPr/>
    </dgm:pt>
    <dgm:pt modelId="{49D82EEC-00A1-487A-AB88-E329F231D4F3}" type="pres">
      <dgm:prSet presAssocID="{E8790448-6B67-4B41-A07C-C1272EF5957F}" presName="compNode" presStyleCnt="0"/>
      <dgm:spPr/>
    </dgm:pt>
    <dgm:pt modelId="{F8736CA0-084C-49E2-9124-F0C94D61BEC0}" type="pres">
      <dgm:prSet presAssocID="{E8790448-6B67-4B41-A07C-C1272EF5957F}" presName="iconBgRect" presStyleLbl="bgShp" presStyleIdx="3" presStyleCnt="4"/>
      <dgm:spPr>
        <a:effectLst>
          <a:outerShdw blurRad="76200" dist="12700" dir="8100000" sy="-23000" kx="800400" algn="br" rotWithShape="0">
            <a:prstClr val="black">
              <a:alpha val="20000"/>
            </a:prstClr>
          </a:outerShdw>
        </a:effectLst>
        <a:scene3d>
          <a:camera prst="orthographicFront"/>
          <a:lightRig rig="threePt" dir="t"/>
        </a:scene3d>
        <a:sp3d>
          <a:bevelT prst="angle"/>
        </a:sp3d>
      </dgm:spPr>
    </dgm:pt>
    <dgm:pt modelId="{6D726E07-CB55-47C1-B644-E1A7A7859213}" type="pres">
      <dgm:prSet presAssocID="{E8790448-6B67-4B41-A07C-C1272EF5957F}"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effectLst>
          <a:outerShdw blurRad="76200" dist="12700" dir="8100000" sy="-23000" kx="800400" algn="br" rotWithShape="0">
            <a:prstClr val="black">
              <a:alpha val="20000"/>
            </a:prstClr>
          </a:outerShdw>
        </a:effectLst>
        <a:scene3d>
          <a:camera prst="orthographicFront"/>
          <a:lightRig rig="threePt" dir="t"/>
        </a:scene3d>
        <a:sp3d>
          <a:bevelT prst="angle"/>
        </a:sp3d>
      </dgm:spPr>
      <dgm:extLst>
        <a:ext uri="{E40237B7-FDA0-4F09-8148-C483321AD2D9}">
          <dgm14:cNvPr xmlns:dgm14="http://schemas.microsoft.com/office/drawing/2010/diagram" id="0" name="" descr="Clipboard"/>
        </a:ext>
      </dgm:extLst>
    </dgm:pt>
    <dgm:pt modelId="{F8768D85-2937-42AD-BFBB-1D3569A71AF0}" type="pres">
      <dgm:prSet presAssocID="{E8790448-6B67-4B41-A07C-C1272EF5957F}" presName="spaceRect" presStyleCnt="0"/>
      <dgm:spPr/>
    </dgm:pt>
    <dgm:pt modelId="{77539E45-010C-4ADC-A4BB-3F92C5CE1FA4}" type="pres">
      <dgm:prSet presAssocID="{E8790448-6B67-4B41-A07C-C1272EF5957F}" presName="textRect" presStyleLbl="revTx" presStyleIdx="3" presStyleCnt="4">
        <dgm:presLayoutVars>
          <dgm:chMax val="1"/>
          <dgm:chPref val="1"/>
        </dgm:presLayoutVars>
      </dgm:prSet>
      <dgm:spPr/>
    </dgm:pt>
  </dgm:ptLst>
  <dgm:cxnLst>
    <dgm:cxn modelId="{85AAE00A-7910-4847-AA68-FC1462D3D8CC}" type="presOf" srcId="{6985183A-17AC-4A94-8AF8-C3EE02C7FEAF}" destId="{9C11CAF9-9F2C-4710-A29A-00975A29F942}" srcOrd="0" destOrd="0" presId="urn:microsoft.com/office/officeart/2018/5/layout/IconCircleLabelList"/>
    <dgm:cxn modelId="{A9B54421-EA5D-483A-8700-619502D0FDB8}" srcId="{6985183A-17AC-4A94-8AF8-C3EE02C7FEAF}" destId="{824B9F55-4AC3-46E9-B7A9-D59F004F4FFA}" srcOrd="0" destOrd="0" parTransId="{648D0083-9E9F-47B2-AB85-42AEF19E74C5}" sibTransId="{9DFBEE94-520E-4A84-8667-5D5D98131B1A}"/>
    <dgm:cxn modelId="{DD463D29-3099-439B-BF45-A5FBC5A9B64C}" type="presOf" srcId="{484969B9-C607-400C-ACDD-DAB34E0D5EE1}" destId="{47823F25-8991-485F-A547-5A60B185C999}" srcOrd="0" destOrd="0" presId="urn:microsoft.com/office/officeart/2018/5/layout/IconCircleLabelList"/>
    <dgm:cxn modelId="{A460462C-0223-4072-BF11-E4C5BE1331BE}" type="presOf" srcId="{F953C78F-67E6-4151-92A2-818C4F4ACCDD}" destId="{4811FCBB-2301-458A-918A-BED720332588}" srcOrd="0" destOrd="0" presId="urn:microsoft.com/office/officeart/2018/5/layout/IconCircleLabelList"/>
    <dgm:cxn modelId="{9F090E3C-AD31-48E1-AEB1-61F1FF89CE7E}" srcId="{6985183A-17AC-4A94-8AF8-C3EE02C7FEAF}" destId="{E8790448-6B67-4B41-A07C-C1272EF5957F}" srcOrd="3" destOrd="0" parTransId="{5F5B887C-9724-4839-BFB2-7F5892EA8FF9}" sibTransId="{64D4051C-2F82-48A6-BA22-E6F211114312}"/>
    <dgm:cxn modelId="{757637AA-8475-4961-B072-B308C799434E}" srcId="{6985183A-17AC-4A94-8AF8-C3EE02C7FEAF}" destId="{484969B9-C607-400C-ACDD-DAB34E0D5EE1}" srcOrd="1" destOrd="0" parTransId="{CE590722-A1FF-486F-8526-F6F9E6515B22}" sibTransId="{3F26A77D-FB37-49A2-B12F-6D2E427119BC}"/>
    <dgm:cxn modelId="{90CD28B6-0FE8-4C5D-A246-1176777A27AA}" srcId="{6985183A-17AC-4A94-8AF8-C3EE02C7FEAF}" destId="{F953C78F-67E6-4151-92A2-818C4F4ACCDD}" srcOrd="2" destOrd="0" parTransId="{4E13B2FB-C2D6-4893-A50C-88BECD5F1B57}" sibTransId="{BABCEE83-D01F-4A73-A487-38F200E34240}"/>
    <dgm:cxn modelId="{111A35C7-A744-4EE7-876E-CF50CA640664}" type="presOf" srcId="{824B9F55-4AC3-46E9-B7A9-D59F004F4FFA}" destId="{327DC837-4BF7-4C43-84B1-AB82E1C39A04}" srcOrd="0" destOrd="0" presId="urn:microsoft.com/office/officeart/2018/5/layout/IconCircleLabelList"/>
    <dgm:cxn modelId="{729A1BF4-6B7E-42CB-A89E-16EF00452ED8}" type="presOf" srcId="{E8790448-6B67-4B41-A07C-C1272EF5957F}" destId="{77539E45-010C-4ADC-A4BB-3F92C5CE1FA4}" srcOrd="0" destOrd="0" presId="urn:microsoft.com/office/officeart/2018/5/layout/IconCircleLabelList"/>
    <dgm:cxn modelId="{06622468-7D81-4EB7-ACDE-B8EEA057C2A8}" type="presParOf" srcId="{9C11CAF9-9F2C-4710-A29A-00975A29F942}" destId="{B53AB2D2-CA69-4929-9A7B-506244E6B129}" srcOrd="0" destOrd="0" presId="urn:microsoft.com/office/officeart/2018/5/layout/IconCircleLabelList"/>
    <dgm:cxn modelId="{ACCC3375-B589-405B-AFE4-A0214DE009DF}" type="presParOf" srcId="{B53AB2D2-CA69-4929-9A7B-506244E6B129}" destId="{E1664C89-6F60-4511-A68B-55672B3FA338}" srcOrd="0" destOrd="0" presId="urn:microsoft.com/office/officeart/2018/5/layout/IconCircleLabelList"/>
    <dgm:cxn modelId="{740A1D9A-0AD4-41C0-84E4-7986FE824412}" type="presParOf" srcId="{B53AB2D2-CA69-4929-9A7B-506244E6B129}" destId="{D0522908-9EDC-4E83-B730-9AD411BA9A5C}" srcOrd="1" destOrd="0" presId="urn:microsoft.com/office/officeart/2018/5/layout/IconCircleLabelList"/>
    <dgm:cxn modelId="{AFDC15F3-FB55-40B7-8C69-EC4BDD32D99C}" type="presParOf" srcId="{B53AB2D2-CA69-4929-9A7B-506244E6B129}" destId="{94A8E3D5-C48A-455E-9FB3-325BA2199485}" srcOrd="2" destOrd="0" presId="urn:microsoft.com/office/officeart/2018/5/layout/IconCircleLabelList"/>
    <dgm:cxn modelId="{AD57BA37-6BF0-460F-BAB1-67CD11F4DE7F}" type="presParOf" srcId="{B53AB2D2-CA69-4929-9A7B-506244E6B129}" destId="{327DC837-4BF7-4C43-84B1-AB82E1C39A04}" srcOrd="3" destOrd="0" presId="urn:microsoft.com/office/officeart/2018/5/layout/IconCircleLabelList"/>
    <dgm:cxn modelId="{7E8A495F-D874-42AF-BE59-60D8B6046187}" type="presParOf" srcId="{9C11CAF9-9F2C-4710-A29A-00975A29F942}" destId="{285AFBF0-D8AF-4CF2-8206-4235783861B0}" srcOrd="1" destOrd="0" presId="urn:microsoft.com/office/officeart/2018/5/layout/IconCircleLabelList"/>
    <dgm:cxn modelId="{47B559F2-BEA9-41B3-92AC-1A07AFAB28EA}" type="presParOf" srcId="{9C11CAF9-9F2C-4710-A29A-00975A29F942}" destId="{2161790A-541B-4F81-948C-A60FB95742AE}" srcOrd="2" destOrd="0" presId="urn:microsoft.com/office/officeart/2018/5/layout/IconCircleLabelList"/>
    <dgm:cxn modelId="{D6DEF0E9-2B0D-4469-A7E7-FF1CB126A9CC}" type="presParOf" srcId="{2161790A-541B-4F81-948C-A60FB95742AE}" destId="{8FB97F6D-5892-4092-A735-4689C503E5F3}" srcOrd="0" destOrd="0" presId="urn:microsoft.com/office/officeart/2018/5/layout/IconCircleLabelList"/>
    <dgm:cxn modelId="{C8278A8C-0E7A-4ED9-9770-130AB2B8AB09}" type="presParOf" srcId="{2161790A-541B-4F81-948C-A60FB95742AE}" destId="{E9C0C390-7009-4DD7-B6B0-3934162BF39A}" srcOrd="1" destOrd="0" presId="urn:microsoft.com/office/officeart/2018/5/layout/IconCircleLabelList"/>
    <dgm:cxn modelId="{2520766A-735E-485A-91F5-461CB7150494}" type="presParOf" srcId="{2161790A-541B-4F81-948C-A60FB95742AE}" destId="{F97F6571-C844-49C4-866C-EF79E5B5030C}" srcOrd="2" destOrd="0" presId="urn:microsoft.com/office/officeart/2018/5/layout/IconCircleLabelList"/>
    <dgm:cxn modelId="{0FC2B9C3-0FA8-4BCF-A62B-076FEE4FB64D}" type="presParOf" srcId="{2161790A-541B-4F81-948C-A60FB95742AE}" destId="{47823F25-8991-485F-A547-5A60B185C999}" srcOrd="3" destOrd="0" presId="urn:microsoft.com/office/officeart/2018/5/layout/IconCircleLabelList"/>
    <dgm:cxn modelId="{BE0E3001-6425-4EA2-B2C0-41CA08408C10}" type="presParOf" srcId="{9C11CAF9-9F2C-4710-A29A-00975A29F942}" destId="{5C63D38E-88C7-4CD7-926A-E3CDE2FF1223}" srcOrd="3" destOrd="0" presId="urn:microsoft.com/office/officeart/2018/5/layout/IconCircleLabelList"/>
    <dgm:cxn modelId="{28EAA7D3-F5AE-4D29-815D-B81E187BAC1D}" type="presParOf" srcId="{9C11CAF9-9F2C-4710-A29A-00975A29F942}" destId="{CA7FD103-7D67-438D-97AB-0CB73738A811}" srcOrd="4" destOrd="0" presId="urn:microsoft.com/office/officeart/2018/5/layout/IconCircleLabelList"/>
    <dgm:cxn modelId="{9D17B7F4-3A75-48D5-AA03-C438075ECF3A}" type="presParOf" srcId="{CA7FD103-7D67-438D-97AB-0CB73738A811}" destId="{20BC450A-41FB-4CFB-A08E-6029D9801E43}" srcOrd="0" destOrd="0" presId="urn:microsoft.com/office/officeart/2018/5/layout/IconCircleLabelList"/>
    <dgm:cxn modelId="{E4FE8F5E-24F9-4AF6-9AD2-AA445A5360B8}" type="presParOf" srcId="{CA7FD103-7D67-438D-97AB-0CB73738A811}" destId="{59D5FBF7-4C05-4F8D-906B-9076546B4B2E}" srcOrd="1" destOrd="0" presId="urn:microsoft.com/office/officeart/2018/5/layout/IconCircleLabelList"/>
    <dgm:cxn modelId="{D0407DF5-620A-4FFC-B3BA-DB91A3060474}" type="presParOf" srcId="{CA7FD103-7D67-438D-97AB-0CB73738A811}" destId="{8F30BEB8-E508-47A2-BFA5-65146A1DC698}" srcOrd="2" destOrd="0" presId="urn:microsoft.com/office/officeart/2018/5/layout/IconCircleLabelList"/>
    <dgm:cxn modelId="{F37B727D-71CA-44FD-AF5B-320937B46B6C}" type="presParOf" srcId="{CA7FD103-7D67-438D-97AB-0CB73738A811}" destId="{4811FCBB-2301-458A-918A-BED720332588}" srcOrd="3" destOrd="0" presId="urn:microsoft.com/office/officeart/2018/5/layout/IconCircleLabelList"/>
    <dgm:cxn modelId="{567E7620-F5D7-48B2-A560-2789DB259EAE}" type="presParOf" srcId="{9C11CAF9-9F2C-4710-A29A-00975A29F942}" destId="{6EDFDD9F-9062-41C0-B98B-229C8CB1B36D}" srcOrd="5" destOrd="0" presId="urn:microsoft.com/office/officeart/2018/5/layout/IconCircleLabelList"/>
    <dgm:cxn modelId="{079ADD6A-D42C-487D-94D1-0BF22294A64B}" type="presParOf" srcId="{9C11CAF9-9F2C-4710-A29A-00975A29F942}" destId="{49D82EEC-00A1-487A-AB88-E329F231D4F3}" srcOrd="6" destOrd="0" presId="urn:microsoft.com/office/officeart/2018/5/layout/IconCircleLabelList"/>
    <dgm:cxn modelId="{207B6FF0-5591-48D7-8192-B1FB3A3BE736}" type="presParOf" srcId="{49D82EEC-00A1-487A-AB88-E329F231D4F3}" destId="{F8736CA0-084C-49E2-9124-F0C94D61BEC0}" srcOrd="0" destOrd="0" presId="urn:microsoft.com/office/officeart/2018/5/layout/IconCircleLabelList"/>
    <dgm:cxn modelId="{4219E8BB-046E-4BF2-8E11-4A44F0AA4DD5}" type="presParOf" srcId="{49D82EEC-00A1-487A-AB88-E329F231D4F3}" destId="{6D726E07-CB55-47C1-B644-E1A7A7859213}" srcOrd="1" destOrd="0" presId="urn:microsoft.com/office/officeart/2018/5/layout/IconCircleLabelList"/>
    <dgm:cxn modelId="{46167352-03D4-4601-8831-53CF17FCCF50}" type="presParOf" srcId="{49D82EEC-00A1-487A-AB88-E329F231D4F3}" destId="{F8768D85-2937-42AD-BFBB-1D3569A71AF0}" srcOrd="2" destOrd="0" presId="urn:microsoft.com/office/officeart/2018/5/layout/IconCircleLabelList"/>
    <dgm:cxn modelId="{5FFBED05-2505-4F0C-B94F-22541DB0157F}" type="presParOf" srcId="{49D82EEC-00A1-487A-AB88-E329F231D4F3}" destId="{77539E45-010C-4ADC-A4BB-3F92C5CE1FA4}"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6985183A-17AC-4A94-8AF8-C3EE02C7FEAF}" type="doc">
      <dgm:prSet loTypeId="urn:microsoft.com/office/officeart/2018/2/layout/IconLabelList" loCatId="icon" qsTypeId="urn:microsoft.com/office/officeart/2005/8/quickstyle/simple1" qsCatId="simple" csTypeId="urn:microsoft.com/office/officeart/2005/8/colors/accent2_2" csCatId="accent2" phldr="1"/>
      <dgm:spPr/>
      <dgm:t>
        <a:bodyPr/>
        <a:lstStyle/>
        <a:p>
          <a:endParaRPr lang="en-US"/>
        </a:p>
      </dgm:t>
    </dgm:pt>
    <dgm:pt modelId="{5879A6B7-425D-4ECE-8CD2-85308B201437}">
      <dgm:prSet/>
      <dgm:spPr/>
      <dgm:t>
        <a:bodyPr/>
        <a:lstStyle/>
        <a:p>
          <a:pPr>
            <a:lnSpc>
              <a:spcPct val="100000"/>
            </a:lnSpc>
          </a:pPr>
          <a:r>
            <a:rPr lang="en-US" baseline="0"/>
            <a:t>Use COPY preferred</a:t>
          </a:r>
          <a:endParaRPr lang="en-US"/>
        </a:p>
      </dgm:t>
    </dgm:pt>
    <dgm:pt modelId="{F12E6B77-2B0A-4AB2-9B4B-5630E136A8AA}" type="parTrans" cxnId="{03ACB438-C458-457A-84B3-E4695E4AD60D}">
      <dgm:prSet/>
      <dgm:spPr/>
      <dgm:t>
        <a:bodyPr/>
        <a:lstStyle/>
        <a:p>
          <a:endParaRPr lang="en-US"/>
        </a:p>
      </dgm:t>
    </dgm:pt>
    <dgm:pt modelId="{03A7D693-5CC2-4D02-A202-FCE300A884AE}" type="sibTrans" cxnId="{03ACB438-C458-457A-84B3-E4695E4AD60D}">
      <dgm:prSet/>
      <dgm:spPr/>
      <dgm:t>
        <a:bodyPr/>
        <a:lstStyle/>
        <a:p>
          <a:endParaRPr lang="en-US"/>
        </a:p>
      </dgm:t>
    </dgm:pt>
    <dgm:pt modelId="{51D55EE7-EC06-46DD-B3D5-E0BF2915A00B}">
      <dgm:prSet/>
      <dgm:spPr/>
      <dgm:t>
        <a:bodyPr/>
        <a:lstStyle/>
        <a:p>
          <a:pPr>
            <a:lnSpc>
              <a:spcPct val="100000"/>
            </a:lnSpc>
          </a:pPr>
          <a:r>
            <a:rPr lang="en-US"/>
            <a:t>SqlBulkCopy/BCP</a:t>
          </a:r>
        </a:p>
      </dgm:t>
    </dgm:pt>
    <dgm:pt modelId="{D798E28F-7A51-4DFF-B74A-FDE6E74F7367}" type="parTrans" cxnId="{4DF9DC2D-4A81-43E4-BA4C-88A5E966CC5E}">
      <dgm:prSet/>
      <dgm:spPr/>
      <dgm:t>
        <a:bodyPr/>
        <a:lstStyle/>
        <a:p>
          <a:endParaRPr lang="en-US"/>
        </a:p>
      </dgm:t>
    </dgm:pt>
    <dgm:pt modelId="{C3D053EB-1488-4C6B-8FE8-721EE392ABCB}" type="sibTrans" cxnId="{4DF9DC2D-4A81-43E4-BA4C-88A5E966CC5E}">
      <dgm:prSet/>
      <dgm:spPr/>
      <dgm:t>
        <a:bodyPr/>
        <a:lstStyle/>
        <a:p>
          <a:endParaRPr lang="en-US"/>
        </a:p>
      </dgm:t>
    </dgm:pt>
    <dgm:pt modelId="{A700DC27-C840-4776-986A-CA518DD51835}">
      <dgm:prSet/>
      <dgm:spPr/>
      <dgm:t>
        <a:bodyPr/>
        <a:lstStyle/>
        <a:p>
          <a:pPr>
            <a:lnSpc>
              <a:spcPct val="100000"/>
            </a:lnSpc>
          </a:pPr>
          <a:r>
            <a:rPr lang="en-US"/>
            <a:t>Increase batch size 100k-1Mi</a:t>
          </a:r>
        </a:p>
      </dgm:t>
    </dgm:pt>
    <dgm:pt modelId="{F2BA03A7-17A7-4DFC-A1A9-94E0D8C4F893}" type="sibTrans" cxnId="{53C98B77-353D-46C1-B9D4-2C03645DA3BD}">
      <dgm:prSet/>
      <dgm:spPr/>
      <dgm:t>
        <a:bodyPr/>
        <a:lstStyle/>
        <a:p>
          <a:endParaRPr lang="en-US"/>
        </a:p>
      </dgm:t>
    </dgm:pt>
    <dgm:pt modelId="{32601D89-8302-4935-A57C-D17DB964FAE7}" type="parTrans" cxnId="{53C98B77-353D-46C1-B9D4-2C03645DA3BD}">
      <dgm:prSet/>
      <dgm:spPr/>
      <dgm:t>
        <a:bodyPr/>
        <a:lstStyle/>
        <a:p>
          <a:endParaRPr lang="en-US"/>
        </a:p>
      </dgm:t>
    </dgm:pt>
    <dgm:pt modelId="{C953B5A7-7390-4F69-9921-B86D45D823A3}" type="pres">
      <dgm:prSet presAssocID="{6985183A-17AC-4A94-8AF8-C3EE02C7FEAF}" presName="root" presStyleCnt="0">
        <dgm:presLayoutVars>
          <dgm:dir/>
          <dgm:resizeHandles val="exact"/>
        </dgm:presLayoutVars>
      </dgm:prSet>
      <dgm:spPr/>
    </dgm:pt>
    <dgm:pt modelId="{74DB82A5-13AC-4473-A5FD-B546778842FF}" type="pres">
      <dgm:prSet presAssocID="{5879A6B7-425D-4ECE-8CD2-85308B201437}" presName="compNode" presStyleCnt="0"/>
      <dgm:spPr/>
    </dgm:pt>
    <dgm:pt modelId="{D775F6AB-CE19-4D15-A537-68A49AAD12D6}" type="pres">
      <dgm:prSet presAssocID="{5879A6B7-425D-4ECE-8CD2-85308B201437}"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a:scene3d>
          <a:camera prst="orthographicFront"/>
          <a:lightRig rig="threePt" dir="t"/>
        </a:scene3d>
        <a:sp3d>
          <a:bevelT prst="angle"/>
        </a:sp3d>
      </dgm:spPr>
      <dgm:extLst>
        <a:ext uri="{E40237B7-FDA0-4F09-8148-C483321AD2D9}">
          <dgm14:cNvPr xmlns:dgm14="http://schemas.microsoft.com/office/drawing/2010/diagram" id="0" name="" descr="Checkmark"/>
        </a:ext>
      </dgm:extLst>
    </dgm:pt>
    <dgm:pt modelId="{42C7B17E-E648-4FB3-8472-A548BBCCCF34}" type="pres">
      <dgm:prSet presAssocID="{5879A6B7-425D-4ECE-8CD2-85308B201437}" presName="spaceRect" presStyleCnt="0"/>
      <dgm:spPr/>
    </dgm:pt>
    <dgm:pt modelId="{A2733401-1C67-4BA9-92E6-1F002339781C}" type="pres">
      <dgm:prSet presAssocID="{5879A6B7-425D-4ECE-8CD2-85308B201437}" presName="textRect" presStyleLbl="revTx" presStyleIdx="0" presStyleCnt="3">
        <dgm:presLayoutVars>
          <dgm:chMax val="1"/>
          <dgm:chPref val="1"/>
        </dgm:presLayoutVars>
      </dgm:prSet>
      <dgm:spPr/>
    </dgm:pt>
    <dgm:pt modelId="{5CDA4FF1-815F-445D-B13F-86D0F63C5D0A}" type="pres">
      <dgm:prSet presAssocID="{03A7D693-5CC2-4D02-A202-FCE300A884AE}" presName="sibTrans" presStyleCnt="0"/>
      <dgm:spPr/>
    </dgm:pt>
    <dgm:pt modelId="{9F50312C-6E61-4582-B41F-8D9A68D1B75B}" type="pres">
      <dgm:prSet presAssocID="{51D55EE7-EC06-46DD-B3D5-E0BF2915A00B}" presName="compNode" presStyleCnt="0"/>
      <dgm:spPr/>
    </dgm:pt>
    <dgm:pt modelId="{98F37A02-5F98-4A7B-97AD-2D9C8CDD4AC4}" type="pres">
      <dgm:prSet presAssocID="{51D55EE7-EC06-46DD-B3D5-E0BF2915A00B}"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a:scene3d>
          <a:camera prst="orthographicFront"/>
          <a:lightRig rig="threePt" dir="t"/>
        </a:scene3d>
        <a:sp3d>
          <a:bevelT prst="angle"/>
        </a:sp3d>
      </dgm:spPr>
      <dgm:extLst>
        <a:ext uri="{E40237B7-FDA0-4F09-8148-C483321AD2D9}">
          <dgm14:cNvPr xmlns:dgm14="http://schemas.microsoft.com/office/drawing/2010/diagram" id="0" name="" descr="User"/>
        </a:ext>
      </dgm:extLst>
    </dgm:pt>
    <dgm:pt modelId="{8ED5A050-408D-4433-960B-F78428B97F38}" type="pres">
      <dgm:prSet presAssocID="{51D55EE7-EC06-46DD-B3D5-E0BF2915A00B}" presName="spaceRect" presStyleCnt="0"/>
      <dgm:spPr/>
    </dgm:pt>
    <dgm:pt modelId="{5A2A548B-1FF4-4D5F-8D9A-A517363A71BC}" type="pres">
      <dgm:prSet presAssocID="{51D55EE7-EC06-46DD-B3D5-E0BF2915A00B}" presName="textRect" presStyleLbl="revTx" presStyleIdx="1" presStyleCnt="3">
        <dgm:presLayoutVars>
          <dgm:chMax val="1"/>
          <dgm:chPref val="1"/>
        </dgm:presLayoutVars>
      </dgm:prSet>
      <dgm:spPr/>
    </dgm:pt>
    <dgm:pt modelId="{031E65A6-ED81-476C-AFE3-2A8224663F9A}" type="pres">
      <dgm:prSet presAssocID="{C3D053EB-1488-4C6B-8FE8-721EE392ABCB}" presName="sibTrans" presStyleCnt="0"/>
      <dgm:spPr/>
    </dgm:pt>
    <dgm:pt modelId="{D81879CC-6757-4CCE-82F9-69C091782211}" type="pres">
      <dgm:prSet presAssocID="{A700DC27-C840-4776-986A-CA518DD51835}" presName="compNode" presStyleCnt="0"/>
      <dgm:spPr/>
    </dgm:pt>
    <dgm:pt modelId="{1515E0C5-FF57-4918-BCC0-A75E21FB75DF}" type="pres">
      <dgm:prSet presAssocID="{A700DC27-C840-4776-986A-CA518DD51835}"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a:scene3d>
          <a:camera prst="orthographicFront"/>
          <a:lightRig rig="threePt" dir="t"/>
        </a:scene3d>
        <a:sp3d>
          <a:bevelT prst="angle"/>
        </a:sp3d>
      </dgm:spPr>
      <dgm:extLst>
        <a:ext uri="{E40237B7-FDA0-4F09-8148-C483321AD2D9}">
          <dgm14:cNvPr xmlns:dgm14="http://schemas.microsoft.com/office/drawing/2010/diagram" id="0" name="" descr="Abacus"/>
        </a:ext>
      </dgm:extLst>
    </dgm:pt>
    <dgm:pt modelId="{E8040885-610D-4C0F-B9E8-493949F2EB94}" type="pres">
      <dgm:prSet presAssocID="{A700DC27-C840-4776-986A-CA518DD51835}" presName="spaceRect" presStyleCnt="0"/>
      <dgm:spPr/>
    </dgm:pt>
    <dgm:pt modelId="{122CBB2C-5490-4724-87B4-546EDF18A14A}" type="pres">
      <dgm:prSet presAssocID="{A700DC27-C840-4776-986A-CA518DD51835}" presName="textRect" presStyleLbl="revTx" presStyleIdx="2" presStyleCnt="3">
        <dgm:presLayoutVars>
          <dgm:chMax val="1"/>
          <dgm:chPref val="1"/>
        </dgm:presLayoutVars>
      </dgm:prSet>
      <dgm:spPr/>
    </dgm:pt>
  </dgm:ptLst>
  <dgm:cxnLst>
    <dgm:cxn modelId="{4E6AB113-9608-4EEA-BC0C-2FFF627F2E35}" type="presOf" srcId="{51D55EE7-EC06-46DD-B3D5-E0BF2915A00B}" destId="{5A2A548B-1FF4-4D5F-8D9A-A517363A71BC}" srcOrd="0" destOrd="0" presId="urn:microsoft.com/office/officeart/2018/2/layout/IconLabelList"/>
    <dgm:cxn modelId="{4DF9DC2D-4A81-43E4-BA4C-88A5E966CC5E}" srcId="{6985183A-17AC-4A94-8AF8-C3EE02C7FEAF}" destId="{51D55EE7-EC06-46DD-B3D5-E0BF2915A00B}" srcOrd="1" destOrd="0" parTransId="{D798E28F-7A51-4DFF-B74A-FDE6E74F7367}" sibTransId="{C3D053EB-1488-4C6B-8FE8-721EE392ABCB}"/>
    <dgm:cxn modelId="{03ACB438-C458-457A-84B3-E4695E4AD60D}" srcId="{6985183A-17AC-4A94-8AF8-C3EE02C7FEAF}" destId="{5879A6B7-425D-4ECE-8CD2-85308B201437}" srcOrd="0" destOrd="0" parTransId="{F12E6B77-2B0A-4AB2-9B4B-5630E136A8AA}" sibTransId="{03A7D693-5CC2-4D02-A202-FCE300A884AE}"/>
    <dgm:cxn modelId="{53C98B77-353D-46C1-B9D4-2C03645DA3BD}" srcId="{6985183A-17AC-4A94-8AF8-C3EE02C7FEAF}" destId="{A700DC27-C840-4776-986A-CA518DD51835}" srcOrd="2" destOrd="0" parTransId="{32601D89-8302-4935-A57C-D17DB964FAE7}" sibTransId="{F2BA03A7-17A7-4DFC-A1A9-94E0D8C4F893}"/>
    <dgm:cxn modelId="{FE6C9E93-D64B-463E-9074-4D7287B73D91}" type="presOf" srcId="{A700DC27-C840-4776-986A-CA518DD51835}" destId="{122CBB2C-5490-4724-87B4-546EDF18A14A}" srcOrd="0" destOrd="0" presId="urn:microsoft.com/office/officeart/2018/2/layout/IconLabelList"/>
    <dgm:cxn modelId="{BB6179BD-60F3-4FBD-8526-ADE3185656CF}" type="presOf" srcId="{5879A6B7-425D-4ECE-8CD2-85308B201437}" destId="{A2733401-1C67-4BA9-92E6-1F002339781C}" srcOrd="0" destOrd="0" presId="urn:microsoft.com/office/officeart/2018/2/layout/IconLabelList"/>
    <dgm:cxn modelId="{A346F4C2-08A7-420A-9E8C-32402F09506E}" type="presOf" srcId="{6985183A-17AC-4A94-8AF8-C3EE02C7FEAF}" destId="{C953B5A7-7390-4F69-9921-B86D45D823A3}" srcOrd="0" destOrd="0" presId="urn:microsoft.com/office/officeart/2018/2/layout/IconLabelList"/>
    <dgm:cxn modelId="{41B794DE-6837-4878-81BD-F32736C44973}" type="presParOf" srcId="{C953B5A7-7390-4F69-9921-B86D45D823A3}" destId="{74DB82A5-13AC-4473-A5FD-B546778842FF}" srcOrd="0" destOrd="0" presId="urn:microsoft.com/office/officeart/2018/2/layout/IconLabelList"/>
    <dgm:cxn modelId="{D98BE35E-2260-46D0-A437-BA1385EBCF05}" type="presParOf" srcId="{74DB82A5-13AC-4473-A5FD-B546778842FF}" destId="{D775F6AB-CE19-4D15-A537-68A49AAD12D6}" srcOrd="0" destOrd="0" presId="urn:microsoft.com/office/officeart/2018/2/layout/IconLabelList"/>
    <dgm:cxn modelId="{66A968A9-64A4-48F8-80AC-644EA812F514}" type="presParOf" srcId="{74DB82A5-13AC-4473-A5FD-B546778842FF}" destId="{42C7B17E-E648-4FB3-8472-A548BBCCCF34}" srcOrd="1" destOrd="0" presId="urn:microsoft.com/office/officeart/2018/2/layout/IconLabelList"/>
    <dgm:cxn modelId="{48744367-0E6E-49C3-A49B-BFC74FA5822A}" type="presParOf" srcId="{74DB82A5-13AC-4473-A5FD-B546778842FF}" destId="{A2733401-1C67-4BA9-92E6-1F002339781C}" srcOrd="2" destOrd="0" presId="urn:microsoft.com/office/officeart/2018/2/layout/IconLabelList"/>
    <dgm:cxn modelId="{FF97BEF1-9B33-426E-80E7-FB47C8F04209}" type="presParOf" srcId="{C953B5A7-7390-4F69-9921-B86D45D823A3}" destId="{5CDA4FF1-815F-445D-B13F-86D0F63C5D0A}" srcOrd="1" destOrd="0" presId="urn:microsoft.com/office/officeart/2018/2/layout/IconLabelList"/>
    <dgm:cxn modelId="{9457F445-3F32-4F0D-A4F7-6E26A2D97F20}" type="presParOf" srcId="{C953B5A7-7390-4F69-9921-B86D45D823A3}" destId="{9F50312C-6E61-4582-B41F-8D9A68D1B75B}" srcOrd="2" destOrd="0" presId="urn:microsoft.com/office/officeart/2018/2/layout/IconLabelList"/>
    <dgm:cxn modelId="{751674AF-4DCC-4B96-92E4-D4A036397EE3}" type="presParOf" srcId="{9F50312C-6E61-4582-B41F-8D9A68D1B75B}" destId="{98F37A02-5F98-4A7B-97AD-2D9C8CDD4AC4}" srcOrd="0" destOrd="0" presId="urn:microsoft.com/office/officeart/2018/2/layout/IconLabelList"/>
    <dgm:cxn modelId="{C95A8267-06DE-43B2-86F4-518C8635413E}" type="presParOf" srcId="{9F50312C-6E61-4582-B41F-8D9A68D1B75B}" destId="{8ED5A050-408D-4433-960B-F78428B97F38}" srcOrd="1" destOrd="0" presId="urn:microsoft.com/office/officeart/2018/2/layout/IconLabelList"/>
    <dgm:cxn modelId="{2500053D-6159-4E82-BDC2-0267D6247BB1}" type="presParOf" srcId="{9F50312C-6E61-4582-B41F-8D9A68D1B75B}" destId="{5A2A548B-1FF4-4D5F-8D9A-A517363A71BC}" srcOrd="2" destOrd="0" presId="urn:microsoft.com/office/officeart/2018/2/layout/IconLabelList"/>
    <dgm:cxn modelId="{56E17130-3B83-41D8-BF5D-B589B170D791}" type="presParOf" srcId="{C953B5A7-7390-4F69-9921-B86D45D823A3}" destId="{031E65A6-ED81-476C-AFE3-2A8224663F9A}" srcOrd="3" destOrd="0" presId="urn:microsoft.com/office/officeart/2018/2/layout/IconLabelList"/>
    <dgm:cxn modelId="{40A508F4-8CA9-42BD-AC9A-DFFF5DC0DF2E}" type="presParOf" srcId="{C953B5A7-7390-4F69-9921-B86D45D823A3}" destId="{D81879CC-6757-4CCE-82F9-69C091782211}" srcOrd="4" destOrd="0" presId="urn:microsoft.com/office/officeart/2018/2/layout/IconLabelList"/>
    <dgm:cxn modelId="{AA089BFC-18EF-468D-BB09-EF5BC4142353}" type="presParOf" srcId="{D81879CC-6757-4CCE-82F9-69C091782211}" destId="{1515E0C5-FF57-4918-BCC0-A75E21FB75DF}" srcOrd="0" destOrd="0" presId="urn:microsoft.com/office/officeart/2018/2/layout/IconLabelList"/>
    <dgm:cxn modelId="{4B591E83-21BF-4581-963E-2AF1F733743C}" type="presParOf" srcId="{D81879CC-6757-4CCE-82F9-69C091782211}" destId="{E8040885-610D-4C0F-B9E8-493949F2EB94}" srcOrd="1" destOrd="0" presId="urn:microsoft.com/office/officeart/2018/2/layout/IconLabelList"/>
    <dgm:cxn modelId="{C13A2DDC-6EC3-4C36-B74F-F41D17669301}" type="presParOf" srcId="{D81879CC-6757-4CCE-82F9-69C091782211}" destId="{122CBB2C-5490-4724-87B4-546EDF18A14A}"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6985183A-17AC-4A94-8AF8-C3EE02C7FEAF}" type="doc">
      <dgm:prSet loTypeId="urn:microsoft.com/office/officeart/2005/8/layout/vList4" loCatId="list" qsTypeId="urn:microsoft.com/office/officeart/2005/8/quickstyle/simple1" qsCatId="simple" csTypeId="urn:microsoft.com/office/officeart/2005/8/colors/accent2_2" csCatId="accent2" phldr="1"/>
      <dgm:spPr/>
      <dgm:t>
        <a:bodyPr/>
        <a:lstStyle/>
        <a:p>
          <a:endParaRPr lang="en-US"/>
        </a:p>
      </dgm:t>
    </dgm:pt>
    <dgm:pt modelId="{FCC8AAB1-27B4-4B0C-B38B-CD8CB54DE384}">
      <dgm:prSet custT="1"/>
      <dgm:spPr/>
      <dgm:t>
        <a:bodyPr/>
        <a:lstStyle/>
        <a:p>
          <a:r>
            <a:rPr lang="en-US" sz="3600" dirty="0"/>
            <a:t>INSERT Statement</a:t>
          </a:r>
        </a:p>
      </dgm:t>
    </dgm:pt>
    <dgm:pt modelId="{2183D99B-FFE8-47CF-9475-FB63E1FC1194}" type="parTrans" cxnId="{02C261F0-6846-45CA-9424-4536A7C02F1B}">
      <dgm:prSet/>
      <dgm:spPr/>
      <dgm:t>
        <a:bodyPr/>
        <a:lstStyle/>
        <a:p>
          <a:endParaRPr lang="en-US"/>
        </a:p>
      </dgm:t>
    </dgm:pt>
    <dgm:pt modelId="{197BF32C-A8A6-49C0-980D-1144E0CCBD5A}" type="sibTrans" cxnId="{02C261F0-6846-45CA-9424-4536A7C02F1B}">
      <dgm:prSet/>
      <dgm:spPr/>
      <dgm:t>
        <a:bodyPr/>
        <a:lstStyle/>
        <a:p>
          <a:endParaRPr lang="en-US"/>
        </a:p>
      </dgm:t>
    </dgm:pt>
    <dgm:pt modelId="{2781F5EB-0CA3-421B-B2F5-E0C920AA7837}">
      <dgm:prSet custT="1"/>
      <dgm:spPr/>
      <dgm:t>
        <a:bodyPr/>
        <a:lstStyle/>
        <a:p>
          <a:r>
            <a:rPr lang="en-US" sz="2400" dirty="0"/>
            <a:t>Small tables</a:t>
          </a:r>
        </a:p>
      </dgm:t>
    </dgm:pt>
    <dgm:pt modelId="{69F06850-DE1A-43CC-8F86-A2FB3A71E883}" type="parTrans" cxnId="{3A0AF9BF-203F-4A9E-BAC1-8F01008A16A3}">
      <dgm:prSet/>
      <dgm:spPr/>
      <dgm:t>
        <a:bodyPr/>
        <a:lstStyle/>
        <a:p>
          <a:endParaRPr lang="en-US"/>
        </a:p>
      </dgm:t>
    </dgm:pt>
    <dgm:pt modelId="{2E325DD9-0161-488F-B4EA-33261D4DD08E}" type="sibTrans" cxnId="{3A0AF9BF-203F-4A9E-BAC1-8F01008A16A3}">
      <dgm:prSet/>
      <dgm:spPr/>
      <dgm:t>
        <a:bodyPr/>
        <a:lstStyle/>
        <a:p>
          <a:endParaRPr lang="en-US"/>
        </a:p>
      </dgm:t>
    </dgm:pt>
    <dgm:pt modelId="{1E71D9F4-8B54-4A0E-A215-DE97EDF24C0A}">
      <dgm:prSet custT="1"/>
      <dgm:spPr/>
      <dgm:t>
        <a:bodyPr/>
        <a:lstStyle/>
        <a:p>
          <a:r>
            <a:rPr lang="en-US" sz="3600" dirty="0"/>
            <a:t>Bulk load</a:t>
          </a:r>
        </a:p>
      </dgm:t>
    </dgm:pt>
    <dgm:pt modelId="{B4681FC9-A941-4242-9341-DDC094D4B1F2}" type="parTrans" cxnId="{6038C1E7-B16C-462E-A773-BE860B68DD3C}">
      <dgm:prSet/>
      <dgm:spPr/>
      <dgm:t>
        <a:bodyPr/>
        <a:lstStyle/>
        <a:p>
          <a:endParaRPr lang="en-US"/>
        </a:p>
      </dgm:t>
    </dgm:pt>
    <dgm:pt modelId="{1C56363B-0BB3-4C4E-A42A-B5F68875E96A}" type="sibTrans" cxnId="{6038C1E7-B16C-462E-A773-BE860B68DD3C}">
      <dgm:prSet/>
      <dgm:spPr/>
      <dgm:t>
        <a:bodyPr/>
        <a:lstStyle/>
        <a:p>
          <a:endParaRPr lang="en-US"/>
        </a:p>
      </dgm:t>
    </dgm:pt>
    <dgm:pt modelId="{4A745C46-883A-4683-B9BF-414F2518FB21}">
      <dgm:prSet custT="1"/>
      <dgm:spPr/>
      <dgm:t>
        <a:bodyPr/>
        <a:lstStyle/>
        <a:p>
          <a:r>
            <a:rPr lang="en-US" sz="2400" dirty="0"/>
            <a:t>1000+ rows</a:t>
          </a:r>
        </a:p>
      </dgm:t>
    </dgm:pt>
    <dgm:pt modelId="{50756800-C425-4793-A3A6-08390C22C7C9}" type="parTrans" cxnId="{5607128B-B6B9-4FF6-A08E-6DD223A9135E}">
      <dgm:prSet/>
      <dgm:spPr/>
      <dgm:t>
        <a:bodyPr/>
        <a:lstStyle/>
        <a:p>
          <a:endParaRPr lang="en-US"/>
        </a:p>
      </dgm:t>
    </dgm:pt>
    <dgm:pt modelId="{D2096566-C947-4A92-BD58-9C737177548B}" type="sibTrans" cxnId="{5607128B-B6B9-4FF6-A08E-6DD223A9135E}">
      <dgm:prSet/>
      <dgm:spPr/>
      <dgm:t>
        <a:bodyPr/>
        <a:lstStyle/>
        <a:p>
          <a:endParaRPr lang="en-US"/>
        </a:p>
      </dgm:t>
    </dgm:pt>
    <dgm:pt modelId="{22D6571C-D2A2-4CA1-82A1-2272619F9249}">
      <dgm:prSet custT="1"/>
      <dgm:spPr/>
      <dgm:t>
        <a:bodyPr/>
        <a:lstStyle/>
        <a:p>
          <a:r>
            <a:rPr lang="en-US" sz="2400" dirty="0"/>
            <a:t>Batch all rows to a file and load it.</a:t>
          </a:r>
        </a:p>
      </dgm:t>
    </dgm:pt>
    <dgm:pt modelId="{BD1D9972-2BD8-405D-ABEE-6D42705D9AD2}" type="parTrans" cxnId="{3D720D0B-EEC2-4AC7-AF3B-898250FE61A5}">
      <dgm:prSet/>
      <dgm:spPr/>
      <dgm:t>
        <a:bodyPr/>
        <a:lstStyle/>
        <a:p>
          <a:endParaRPr lang="en-US"/>
        </a:p>
      </dgm:t>
    </dgm:pt>
    <dgm:pt modelId="{692E9AA4-F6D8-4065-9BFC-621CEF924B9D}" type="sibTrans" cxnId="{3D720D0B-EEC2-4AC7-AF3B-898250FE61A5}">
      <dgm:prSet/>
      <dgm:spPr/>
      <dgm:t>
        <a:bodyPr/>
        <a:lstStyle/>
        <a:p>
          <a:endParaRPr lang="en-US"/>
        </a:p>
      </dgm:t>
    </dgm:pt>
    <dgm:pt modelId="{BB1A5573-5CED-4541-8970-1655C760E75E}">
      <dgm:prSet custT="1"/>
      <dgm:spPr/>
      <dgm:t>
        <a:bodyPr/>
        <a:lstStyle/>
        <a:p>
          <a:r>
            <a:rPr lang="en-US" sz="2400" dirty="0"/>
            <a:t>One time only</a:t>
          </a:r>
        </a:p>
      </dgm:t>
    </dgm:pt>
    <dgm:pt modelId="{2D2D1DEC-7A95-4953-B0B1-2E9ED75C05E8}" type="parTrans" cxnId="{CCCB0D57-EE78-476E-AD6C-04B1DBD8B2D4}">
      <dgm:prSet/>
      <dgm:spPr/>
      <dgm:t>
        <a:bodyPr/>
        <a:lstStyle/>
        <a:p>
          <a:endParaRPr lang="en-US"/>
        </a:p>
      </dgm:t>
    </dgm:pt>
    <dgm:pt modelId="{4AE27EAA-EDEC-4768-B782-41526EED2DA4}" type="sibTrans" cxnId="{CCCB0D57-EE78-476E-AD6C-04B1DBD8B2D4}">
      <dgm:prSet/>
      <dgm:spPr/>
      <dgm:t>
        <a:bodyPr/>
        <a:lstStyle/>
        <a:p>
          <a:endParaRPr lang="en-US"/>
        </a:p>
      </dgm:t>
    </dgm:pt>
    <dgm:pt modelId="{0B4D5DB7-5656-4435-A781-380F255BAA1D}">
      <dgm:prSet custT="1"/>
      <dgm:spPr/>
      <dgm:t>
        <a:bodyPr/>
        <a:lstStyle/>
        <a:p>
          <a:r>
            <a:rPr lang="en-US" sz="2400" dirty="0"/>
            <a:t>Small periodic reload</a:t>
          </a:r>
        </a:p>
      </dgm:t>
    </dgm:pt>
    <dgm:pt modelId="{2F2EA6B3-8070-42E8-975E-FEE439C1BB37}" type="parTrans" cxnId="{294DD5BA-250D-42D3-8359-C32CC0CF09E2}">
      <dgm:prSet/>
      <dgm:spPr/>
      <dgm:t>
        <a:bodyPr/>
        <a:lstStyle/>
        <a:p>
          <a:endParaRPr lang="en-US"/>
        </a:p>
      </dgm:t>
    </dgm:pt>
    <dgm:pt modelId="{9CCEFB4D-60DF-4E84-89DE-182782680187}" type="sibTrans" cxnId="{294DD5BA-250D-42D3-8359-C32CC0CF09E2}">
      <dgm:prSet/>
      <dgm:spPr/>
      <dgm:t>
        <a:bodyPr/>
        <a:lstStyle/>
        <a:p>
          <a:endParaRPr lang="en-US"/>
        </a:p>
      </dgm:t>
    </dgm:pt>
    <dgm:pt modelId="{0F7FEA59-C4BE-4E47-8C86-D63949729B99}" type="pres">
      <dgm:prSet presAssocID="{6985183A-17AC-4A94-8AF8-C3EE02C7FEAF}" presName="linear" presStyleCnt="0">
        <dgm:presLayoutVars>
          <dgm:dir/>
          <dgm:resizeHandles val="exact"/>
        </dgm:presLayoutVars>
      </dgm:prSet>
      <dgm:spPr/>
    </dgm:pt>
    <dgm:pt modelId="{79501E87-2B45-483E-97B3-7998506CD6DE}" type="pres">
      <dgm:prSet presAssocID="{FCC8AAB1-27B4-4B0C-B38B-CD8CB54DE384}" presName="comp" presStyleCnt="0"/>
      <dgm:spPr/>
    </dgm:pt>
    <dgm:pt modelId="{B3565D67-17C5-4670-B0E2-32769A207C4F}" type="pres">
      <dgm:prSet presAssocID="{FCC8AAB1-27B4-4B0C-B38B-CD8CB54DE384}" presName="box" presStyleLbl="node1" presStyleIdx="0" presStyleCnt="2"/>
      <dgm:spPr/>
    </dgm:pt>
    <dgm:pt modelId="{17792A4A-5312-49EC-B819-52A6908BDBD1}" type="pres">
      <dgm:prSet presAssocID="{FCC8AAB1-27B4-4B0C-B38B-CD8CB54DE384}" presName="img" presStyleLbl="fgImgPlace1" presStyleIdx="0" presStyleCnt="2"/>
      <dgm:spPr>
        <a:blipFill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Server"/>
        </a:ext>
      </dgm:extLst>
    </dgm:pt>
    <dgm:pt modelId="{B3A28C86-2172-43A4-AFAF-2912EDE1C9B4}" type="pres">
      <dgm:prSet presAssocID="{FCC8AAB1-27B4-4B0C-B38B-CD8CB54DE384}" presName="text" presStyleLbl="node1" presStyleIdx="0" presStyleCnt="2">
        <dgm:presLayoutVars>
          <dgm:bulletEnabled val="1"/>
        </dgm:presLayoutVars>
      </dgm:prSet>
      <dgm:spPr/>
    </dgm:pt>
    <dgm:pt modelId="{03373EA1-039C-466E-A2C2-5C59763C732F}" type="pres">
      <dgm:prSet presAssocID="{197BF32C-A8A6-49C0-980D-1144E0CCBD5A}" presName="spacer" presStyleCnt="0"/>
      <dgm:spPr/>
    </dgm:pt>
    <dgm:pt modelId="{AAB398B2-3755-4E55-BF28-E6C5B05C75E7}" type="pres">
      <dgm:prSet presAssocID="{1E71D9F4-8B54-4A0E-A215-DE97EDF24C0A}" presName="comp" presStyleCnt="0"/>
      <dgm:spPr/>
    </dgm:pt>
    <dgm:pt modelId="{44E2C254-275F-4B27-B53F-7C02E368EEA6}" type="pres">
      <dgm:prSet presAssocID="{1E71D9F4-8B54-4A0E-A215-DE97EDF24C0A}" presName="box" presStyleLbl="node1" presStyleIdx="1" presStyleCnt="2"/>
      <dgm:spPr/>
    </dgm:pt>
    <dgm:pt modelId="{0DCC1D2B-C8CB-47AC-AB20-7099B085A014}" type="pres">
      <dgm:prSet presAssocID="{1E71D9F4-8B54-4A0E-A215-DE97EDF24C0A}" presName="img" presStyleLbl="fgImgPlace1" presStyleIdx="1" presStyleCnt="2"/>
      <dgm:spPr>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Filter"/>
        </a:ext>
      </dgm:extLst>
    </dgm:pt>
    <dgm:pt modelId="{480EC894-F6B1-4910-86E8-E7C06EFF3D25}" type="pres">
      <dgm:prSet presAssocID="{1E71D9F4-8B54-4A0E-A215-DE97EDF24C0A}" presName="text" presStyleLbl="node1" presStyleIdx="1" presStyleCnt="2">
        <dgm:presLayoutVars>
          <dgm:bulletEnabled val="1"/>
        </dgm:presLayoutVars>
      </dgm:prSet>
      <dgm:spPr/>
    </dgm:pt>
  </dgm:ptLst>
  <dgm:cxnLst>
    <dgm:cxn modelId="{3D720D0B-EEC2-4AC7-AF3B-898250FE61A5}" srcId="{1E71D9F4-8B54-4A0E-A215-DE97EDF24C0A}" destId="{22D6571C-D2A2-4CA1-82A1-2272619F9249}" srcOrd="1" destOrd="0" parTransId="{BD1D9972-2BD8-405D-ABEE-6D42705D9AD2}" sibTransId="{692E9AA4-F6D8-4065-9BFC-621CEF924B9D}"/>
    <dgm:cxn modelId="{C26A2411-7D2E-4E31-86AF-BADCD5240285}" type="presOf" srcId="{1E71D9F4-8B54-4A0E-A215-DE97EDF24C0A}" destId="{480EC894-F6B1-4910-86E8-E7C06EFF3D25}" srcOrd="1" destOrd="0" presId="urn:microsoft.com/office/officeart/2005/8/layout/vList4"/>
    <dgm:cxn modelId="{BD982E11-A1EB-4607-815F-6A495EEA7BFA}" type="presOf" srcId="{4A745C46-883A-4683-B9BF-414F2518FB21}" destId="{44E2C254-275F-4B27-B53F-7C02E368EEA6}" srcOrd="0" destOrd="1" presId="urn:microsoft.com/office/officeart/2005/8/layout/vList4"/>
    <dgm:cxn modelId="{659D7F25-B444-4DFF-89F9-BBA0B654CA2C}" type="presOf" srcId="{0B4D5DB7-5656-4435-A781-380F255BAA1D}" destId="{B3565D67-17C5-4670-B0E2-32769A207C4F}" srcOrd="0" destOrd="3" presId="urn:microsoft.com/office/officeart/2005/8/layout/vList4"/>
    <dgm:cxn modelId="{FDCBC725-E911-4691-AD5B-5B6F6733AE43}" type="presOf" srcId="{22D6571C-D2A2-4CA1-82A1-2272619F9249}" destId="{44E2C254-275F-4B27-B53F-7C02E368EEA6}" srcOrd="0" destOrd="2" presId="urn:microsoft.com/office/officeart/2005/8/layout/vList4"/>
    <dgm:cxn modelId="{45CA7D37-1B81-4D6C-A771-F1FBDA5B346B}" type="presOf" srcId="{FCC8AAB1-27B4-4B0C-B38B-CD8CB54DE384}" destId="{B3565D67-17C5-4670-B0E2-32769A207C4F}" srcOrd="0" destOrd="0" presId="urn:microsoft.com/office/officeart/2005/8/layout/vList4"/>
    <dgm:cxn modelId="{6595113E-7611-4344-AA16-8CD13044929A}" type="presOf" srcId="{BB1A5573-5CED-4541-8970-1655C760E75E}" destId="{B3A28C86-2172-43A4-AFAF-2912EDE1C9B4}" srcOrd="1" destOrd="2" presId="urn:microsoft.com/office/officeart/2005/8/layout/vList4"/>
    <dgm:cxn modelId="{A2017341-B921-4D98-A98E-1E3662AA363B}" type="presOf" srcId="{22D6571C-D2A2-4CA1-82A1-2272619F9249}" destId="{480EC894-F6B1-4910-86E8-E7C06EFF3D25}" srcOrd="1" destOrd="2" presId="urn:microsoft.com/office/officeart/2005/8/layout/vList4"/>
    <dgm:cxn modelId="{F0BAEC44-BBA7-4582-A0C5-41AB85571CE8}" type="presOf" srcId="{BB1A5573-5CED-4541-8970-1655C760E75E}" destId="{B3565D67-17C5-4670-B0E2-32769A207C4F}" srcOrd="0" destOrd="2" presId="urn:microsoft.com/office/officeart/2005/8/layout/vList4"/>
    <dgm:cxn modelId="{CCCB0D57-EE78-476E-AD6C-04B1DBD8B2D4}" srcId="{FCC8AAB1-27B4-4B0C-B38B-CD8CB54DE384}" destId="{BB1A5573-5CED-4541-8970-1655C760E75E}" srcOrd="1" destOrd="0" parTransId="{2D2D1DEC-7A95-4953-B0B1-2E9ED75C05E8}" sibTransId="{4AE27EAA-EDEC-4768-B782-41526EED2DA4}"/>
    <dgm:cxn modelId="{31EB1C59-D8A4-41AD-938C-22ACF6ED77D3}" type="presOf" srcId="{0B4D5DB7-5656-4435-A781-380F255BAA1D}" destId="{B3A28C86-2172-43A4-AFAF-2912EDE1C9B4}" srcOrd="1" destOrd="3" presId="urn:microsoft.com/office/officeart/2005/8/layout/vList4"/>
    <dgm:cxn modelId="{0DF45C59-1CE2-4512-8063-807FE0AF1523}" type="presOf" srcId="{6985183A-17AC-4A94-8AF8-C3EE02C7FEAF}" destId="{0F7FEA59-C4BE-4E47-8C86-D63949729B99}" srcOrd="0" destOrd="0" presId="urn:microsoft.com/office/officeart/2005/8/layout/vList4"/>
    <dgm:cxn modelId="{76898485-24A7-4D9C-9F18-5DC32D6647C9}" type="presOf" srcId="{FCC8AAB1-27B4-4B0C-B38B-CD8CB54DE384}" destId="{B3A28C86-2172-43A4-AFAF-2912EDE1C9B4}" srcOrd="1" destOrd="0" presId="urn:microsoft.com/office/officeart/2005/8/layout/vList4"/>
    <dgm:cxn modelId="{5607128B-B6B9-4FF6-A08E-6DD223A9135E}" srcId="{1E71D9F4-8B54-4A0E-A215-DE97EDF24C0A}" destId="{4A745C46-883A-4683-B9BF-414F2518FB21}" srcOrd="0" destOrd="0" parTransId="{50756800-C425-4793-A3A6-08390C22C7C9}" sibTransId="{D2096566-C947-4A92-BD58-9C737177548B}"/>
    <dgm:cxn modelId="{F49345A6-298B-4A3B-ADCF-769D90040E0E}" type="presOf" srcId="{1E71D9F4-8B54-4A0E-A215-DE97EDF24C0A}" destId="{44E2C254-275F-4B27-B53F-7C02E368EEA6}" srcOrd="0" destOrd="0" presId="urn:microsoft.com/office/officeart/2005/8/layout/vList4"/>
    <dgm:cxn modelId="{40E722AD-13DF-40FC-9BF5-8E3F53FEC126}" type="presOf" srcId="{4A745C46-883A-4683-B9BF-414F2518FB21}" destId="{480EC894-F6B1-4910-86E8-E7C06EFF3D25}" srcOrd="1" destOrd="1" presId="urn:microsoft.com/office/officeart/2005/8/layout/vList4"/>
    <dgm:cxn modelId="{ED5420B8-A880-4723-86D3-7165C2BB9301}" type="presOf" srcId="{2781F5EB-0CA3-421B-B2F5-E0C920AA7837}" destId="{B3A28C86-2172-43A4-AFAF-2912EDE1C9B4}" srcOrd="1" destOrd="1" presId="urn:microsoft.com/office/officeart/2005/8/layout/vList4"/>
    <dgm:cxn modelId="{294DD5BA-250D-42D3-8359-C32CC0CF09E2}" srcId="{FCC8AAB1-27B4-4B0C-B38B-CD8CB54DE384}" destId="{0B4D5DB7-5656-4435-A781-380F255BAA1D}" srcOrd="2" destOrd="0" parTransId="{2F2EA6B3-8070-42E8-975E-FEE439C1BB37}" sibTransId="{9CCEFB4D-60DF-4E84-89DE-182782680187}"/>
    <dgm:cxn modelId="{3A0AF9BF-203F-4A9E-BAC1-8F01008A16A3}" srcId="{FCC8AAB1-27B4-4B0C-B38B-CD8CB54DE384}" destId="{2781F5EB-0CA3-421B-B2F5-E0C920AA7837}" srcOrd="0" destOrd="0" parTransId="{69F06850-DE1A-43CC-8F86-A2FB3A71E883}" sibTransId="{2E325DD9-0161-488F-B4EA-33261D4DD08E}"/>
    <dgm:cxn modelId="{056058C9-D345-48EB-9E66-B366EE5445EE}" type="presOf" srcId="{2781F5EB-0CA3-421B-B2F5-E0C920AA7837}" destId="{B3565D67-17C5-4670-B0E2-32769A207C4F}" srcOrd="0" destOrd="1" presId="urn:microsoft.com/office/officeart/2005/8/layout/vList4"/>
    <dgm:cxn modelId="{6038C1E7-B16C-462E-A773-BE860B68DD3C}" srcId="{6985183A-17AC-4A94-8AF8-C3EE02C7FEAF}" destId="{1E71D9F4-8B54-4A0E-A215-DE97EDF24C0A}" srcOrd="1" destOrd="0" parTransId="{B4681FC9-A941-4242-9341-DDC094D4B1F2}" sibTransId="{1C56363B-0BB3-4C4E-A42A-B5F68875E96A}"/>
    <dgm:cxn modelId="{02C261F0-6846-45CA-9424-4536A7C02F1B}" srcId="{6985183A-17AC-4A94-8AF8-C3EE02C7FEAF}" destId="{FCC8AAB1-27B4-4B0C-B38B-CD8CB54DE384}" srcOrd="0" destOrd="0" parTransId="{2183D99B-FFE8-47CF-9475-FB63E1FC1194}" sibTransId="{197BF32C-A8A6-49C0-980D-1144E0CCBD5A}"/>
    <dgm:cxn modelId="{0F0E2152-637D-4E32-AC9B-71D31B0483C7}" type="presParOf" srcId="{0F7FEA59-C4BE-4E47-8C86-D63949729B99}" destId="{79501E87-2B45-483E-97B3-7998506CD6DE}" srcOrd="0" destOrd="0" presId="urn:microsoft.com/office/officeart/2005/8/layout/vList4"/>
    <dgm:cxn modelId="{C230875A-1E28-4E0D-932A-E349BFA36156}" type="presParOf" srcId="{79501E87-2B45-483E-97B3-7998506CD6DE}" destId="{B3565D67-17C5-4670-B0E2-32769A207C4F}" srcOrd="0" destOrd="0" presId="urn:microsoft.com/office/officeart/2005/8/layout/vList4"/>
    <dgm:cxn modelId="{053FC02F-AC7F-4FAD-ACC5-7BD9E54F0C36}" type="presParOf" srcId="{79501E87-2B45-483E-97B3-7998506CD6DE}" destId="{17792A4A-5312-49EC-B819-52A6908BDBD1}" srcOrd="1" destOrd="0" presId="urn:microsoft.com/office/officeart/2005/8/layout/vList4"/>
    <dgm:cxn modelId="{95D0CBCF-DF17-4FF9-BD35-D3E2E2D6C15E}" type="presParOf" srcId="{79501E87-2B45-483E-97B3-7998506CD6DE}" destId="{B3A28C86-2172-43A4-AFAF-2912EDE1C9B4}" srcOrd="2" destOrd="0" presId="urn:microsoft.com/office/officeart/2005/8/layout/vList4"/>
    <dgm:cxn modelId="{128B9A57-F52F-48DC-A99B-4F266C08E787}" type="presParOf" srcId="{0F7FEA59-C4BE-4E47-8C86-D63949729B99}" destId="{03373EA1-039C-466E-A2C2-5C59763C732F}" srcOrd="1" destOrd="0" presId="urn:microsoft.com/office/officeart/2005/8/layout/vList4"/>
    <dgm:cxn modelId="{83422988-08FB-4EB7-8C1A-71223ED8083B}" type="presParOf" srcId="{0F7FEA59-C4BE-4E47-8C86-D63949729B99}" destId="{AAB398B2-3755-4E55-BF28-E6C5B05C75E7}" srcOrd="2" destOrd="0" presId="urn:microsoft.com/office/officeart/2005/8/layout/vList4"/>
    <dgm:cxn modelId="{122BE535-A200-4DBB-8C9A-87A15E608051}" type="presParOf" srcId="{AAB398B2-3755-4E55-BF28-E6C5B05C75E7}" destId="{44E2C254-275F-4B27-B53F-7C02E368EEA6}" srcOrd="0" destOrd="0" presId="urn:microsoft.com/office/officeart/2005/8/layout/vList4"/>
    <dgm:cxn modelId="{1B32CD08-30CB-47E7-ADE4-1552BA17FBA0}" type="presParOf" srcId="{AAB398B2-3755-4E55-BF28-E6C5B05C75E7}" destId="{0DCC1D2B-C8CB-47AC-AB20-7099B085A014}" srcOrd="1" destOrd="0" presId="urn:microsoft.com/office/officeart/2005/8/layout/vList4"/>
    <dgm:cxn modelId="{F3269059-132D-4D4F-85AD-012F4947A6B3}" type="presParOf" srcId="{AAB398B2-3755-4E55-BF28-E6C5B05C75E7}" destId="{480EC894-F6B1-4910-86E8-E7C06EFF3D25}"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6985183A-17AC-4A94-8AF8-C3EE02C7FEAF}"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923201A6-54CA-4CCF-BA7F-4DD4BC40A501}">
      <dgm:prSet custT="1"/>
      <dgm:spPr/>
      <dgm:t>
        <a:bodyPr/>
        <a:lstStyle/>
        <a:p>
          <a:r>
            <a:rPr lang="en-US" sz="3600" dirty="0"/>
            <a:t>Create after the first load</a:t>
          </a:r>
        </a:p>
      </dgm:t>
    </dgm:pt>
    <dgm:pt modelId="{2F3B8B33-4CBB-41D0-B0A6-64E52CE098DE}" type="parTrans" cxnId="{51974C91-7D20-473E-BC3C-D08514C6E1CB}">
      <dgm:prSet/>
      <dgm:spPr/>
      <dgm:t>
        <a:bodyPr/>
        <a:lstStyle/>
        <a:p>
          <a:endParaRPr lang="en-US"/>
        </a:p>
      </dgm:t>
    </dgm:pt>
    <dgm:pt modelId="{D90D6613-8B7C-446F-80FA-E1BE346DB2F8}" type="sibTrans" cxnId="{51974C91-7D20-473E-BC3C-D08514C6E1CB}">
      <dgm:prSet/>
      <dgm:spPr/>
      <dgm:t>
        <a:bodyPr/>
        <a:lstStyle/>
        <a:p>
          <a:endParaRPr lang="en-US"/>
        </a:p>
      </dgm:t>
    </dgm:pt>
    <dgm:pt modelId="{7F4C91A8-30B5-4266-8E6D-109699C93D17}">
      <dgm:prSet custT="1"/>
      <dgm:spPr/>
      <dgm:t>
        <a:bodyPr/>
        <a:lstStyle/>
        <a:p>
          <a:r>
            <a:rPr lang="en-US" sz="3600" dirty="0"/>
            <a:t>Refresh after substantial change</a:t>
          </a:r>
        </a:p>
      </dgm:t>
    </dgm:pt>
    <dgm:pt modelId="{05E8A6E1-7264-4CE6-AB01-5D47C246D2E7}" type="parTrans" cxnId="{B2BC9940-8F56-4FFE-9338-ACE88873BB5F}">
      <dgm:prSet/>
      <dgm:spPr/>
      <dgm:t>
        <a:bodyPr/>
        <a:lstStyle/>
        <a:p>
          <a:endParaRPr lang="en-US"/>
        </a:p>
      </dgm:t>
    </dgm:pt>
    <dgm:pt modelId="{BC5E2BA2-5BC8-48A4-BAE3-4AB262FD983A}" type="sibTrans" cxnId="{B2BC9940-8F56-4FFE-9338-ACE88873BB5F}">
      <dgm:prSet/>
      <dgm:spPr/>
      <dgm:t>
        <a:bodyPr/>
        <a:lstStyle/>
        <a:p>
          <a:endParaRPr lang="en-US"/>
        </a:p>
      </dgm:t>
    </dgm:pt>
    <dgm:pt modelId="{273CE088-08AF-4F82-8D9F-2DF905E0BC60}" type="pres">
      <dgm:prSet presAssocID="{6985183A-17AC-4A94-8AF8-C3EE02C7FEAF}" presName="linear" presStyleCnt="0">
        <dgm:presLayoutVars>
          <dgm:dir/>
          <dgm:resizeHandles val="exact"/>
        </dgm:presLayoutVars>
      </dgm:prSet>
      <dgm:spPr/>
    </dgm:pt>
    <dgm:pt modelId="{AD97CDCA-3494-4BC7-85BD-387FFA343592}" type="pres">
      <dgm:prSet presAssocID="{923201A6-54CA-4CCF-BA7F-4DD4BC40A501}" presName="comp" presStyleCnt="0"/>
      <dgm:spPr/>
    </dgm:pt>
    <dgm:pt modelId="{88339C82-5F9A-4F81-8B9A-C3655324EA46}" type="pres">
      <dgm:prSet presAssocID="{923201A6-54CA-4CCF-BA7F-4DD4BC40A501}" presName="box" presStyleLbl="node1" presStyleIdx="0" presStyleCnt="2"/>
      <dgm:spPr/>
    </dgm:pt>
    <dgm:pt modelId="{8B0C5CEB-E245-469F-9DB5-183FAA4138AF}" type="pres">
      <dgm:prSet presAssocID="{923201A6-54CA-4CCF-BA7F-4DD4BC40A501}" presName="img" presStyleLbl="fgImgPlac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Truck"/>
        </a:ext>
      </dgm:extLst>
    </dgm:pt>
    <dgm:pt modelId="{4B0A0643-1EC4-461B-9F1B-2B216DF251E3}" type="pres">
      <dgm:prSet presAssocID="{923201A6-54CA-4CCF-BA7F-4DD4BC40A501}" presName="text" presStyleLbl="node1" presStyleIdx="0" presStyleCnt="2">
        <dgm:presLayoutVars>
          <dgm:bulletEnabled val="1"/>
        </dgm:presLayoutVars>
      </dgm:prSet>
      <dgm:spPr/>
    </dgm:pt>
    <dgm:pt modelId="{12571452-B018-4DC2-AD85-4A2136F544B7}" type="pres">
      <dgm:prSet presAssocID="{D90D6613-8B7C-446F-80FA-E1BE346DB2F8}" presName="spacer" presStyleCnt="0"/>
      <dgm:spPr/>
    </dgm:pt>
    <dgm:pt modelId="{AD9BA8EA-D801-44B9-AC09-E4CFB99FE2AA}" type="pres">
      <dgm:prSet presAssocID="{7F4C91A8-30B5-4266-8E6D-109699C93D17}" presName="comp" presStyleCnt="0"/>
      <dgm:spPr/>
    </dgm:pt>
    <dgm:pt modelId="{81A91C89-F4B1-41A6-8E23-ED865B1A54DC}" type="pres">
      <dgm:prSet presAssocID="{7F4C91A8-30B5-4266-8E6D-109699C93D17}" presName="box" presStyleLbl="node1" presStyleIdx="1" presStyleCnt="2"/>
      <dgm:spPr/>
    </dgm:pt>
    <dgm:pt modelId="{11F05BCC-EADA-4FF4-8E03-0EC18CC3CAF5}" type="pres">
      <dgm:prSet presAssocID="{7F4C91A8-30B5-4266-8E6D-109699C93D17}" presName="img" presStyleLbl="fgImgPlac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Refresh"/>
        </a:ext>
      </dgm:extLst>
    </dgm:pt>
    <dgm:pt modelId="{960C1A85-8FD2-4B1B-813F-9B8588BE2FA6}" type="pres">
      <dgm:prSet presAssocID="{7F4C91A8-30B5-4266-8E6D-109699C93D17}" presName="text" presStyleLbl="node1" presStyleIdx="1" presStyleCnt="2">
        <dgm:presLayoutVars>
          <dgm:bulletEnabled val="1"/>
        </dgm:presLayoutVars>
      </dgm:prSet>
      <dgm:spPr/>
    </dgm:pt>
  </dgm:ptLst>
  <dgm:cxnLst>
    <dgm:cxn modelId="{16DFAE04-90C9-4333-93A4-6815ABBBFBE2}" type="presOf" srcId="{7F4C91A8-30B5-4266-8E6D-109699C93D17}" destId="{960C1A85-8FD2-4B1B-813F-9B8588BE2FA6}" srcOrd="1" destOrd="0" presId="urn:microsoft.com/office/officeart/2005/8/layout/vList4"/>
    <dgm:cxn modelId="{85E71525-9F96-4620-8D74-6D2E87A7515B}" type="presOf" srcId="{6985183A-17AC-4A94-8AF8-C3EE02C7FEAF}" destId="{273CE088-08AF-4F82-8D9F-2DF905E0BC60}" srcOrd="0" destOrd="0" presId="urn:microsoft.com/office/officeart/2005/8/layout/vList4"/>
    <dgm:cxn modelId="{B2BC9940-8F56-4FFE-9338-ACE88873BB5F}" srcId="{6985183A-17AC-4A94-8AF8-C3EE02C7FEAF}" destId="{7F4C91A8-30B5-4266-8E6D-109699C93D17}" srcOrd="1" destOrd="0" parTransId="{05E8A6E1-7264-4CE6-AB01-5D47C246D2E7}" sibTransId="{BC5E2BA2-5BC8-48A4-BAE3-4AB262FD983A}"/>
    <dgm:cxn modelId="{C3455C8D-93BE-49DE-80C9-37ADC9E46CAD}" type="presOf" srcId="{923201A6-54CA-4CCF-BA7F-4DD4BC40A501}" destId="{4B0A0643-1EC4-461B-9F1B-2B216DF251E3}" srcOrd="1" destOrd="0" presId="urn:microsoft.com/office/officeart/2005/8/layout/vList4"/>
    <dgm:cxn modelId="{F9C4078F-D1A6-4C0B-B809-05745E48DEAB}" type="presOf" srcId="{923201A6-54CA-4CCF-BA7F-4DD4BC40A501}" destId="{88339C82-5F9A-4F81-8B9A-C3655324EA46}" srcOrd="0" destOrd="0" presId="urn:microsoft.com/office/officeart/2005/8/layout/vList4"/>
    <dgm:cxn modelId="{51974C91-7D20-473E-BC3C-D08514C6E1CB}" srcId="{6985183A-17AC-4A94-8AF8-C3EE02C7FEAF}" destId="{923201A6-54CA-4CCF-BA7F-4DD4BC40A501}" srcOrd="0" destOrd="0" parTransId="{2F3B8B33-4CBB-41D0-B0A6-64E52CE098DE}" sibTransId="{D90D6613-8B7C-446F-80FA-E1BE346DB2F8}"/>
    <dgm:cxn modelId="{272CD1ED-5AEC-4278-850F-5F043E220BC5}" type="presOf" srcId="{7F4C91A8-30B5-4266-8E6D-109699C93D17}" destId="{81A91C89-F4B1-41A6-8E23-ED865B1A54DC}" srcOrd="0" destOrd="0" presId="urn:microsoft.com/office/officeart/2005/8/layout/vList4"/>
    <dgm:cxn modelId="{99889F0E-7CEE-427F-AF34-2513625FF85C}" type="presParOf" srcId="{273CE088-08AF-4F82-8D9F-2DF905E0BC60}" destId="{AD97CDCA-3494-4BC7-85BD-387FFA343592}" srcOrd="0" destOrd="0" presId="urn:microsoft.com/office/officeart/2005/8/layout/vList4"/>
    <dgm:cxn modelId="{01E4431F-CF15-4500-AEDD-0C612AF4B7E5}" type="presParOf" srcId="{AD97CDCA-3494-4BC7-85BD-387FFA343592}" destId="{88339C82-5F9A-4F81-8B9A-C3655324EA46}" srcOrd="0" destOrd="0" presId="urn:microsoft.com/office/officeart/2005/8/layout/vList4"/>
    <dgm:cxn modelId="{346EAF53-F0B9-439E-B9C5-7DED269DC076}" type="presParOf" srcId="{AD97CDCA-3494-4BC7-85BD-387FFA343592}" destId="{8B0C5CEB-E245-469F-9DB5-183FAA4138AF}" srcOrd="1" destOrd="0" presId="urn:microsoft.com/office/officeart/2005/8/layout/vList4"/>
    <dgm:cxn modelId="{74C836C7-5EF9-4537-BC08-16697C98423E}" type="presParOf" srcId="{AD97CDCA-3494-4BC7-85BD-387FFA343592}" destId="{4B0A0643-1EC4-461B-9F1B-2B216DF251E3}" srcOrd="2" destOrd="0" presId="urn:microsoft.com/office/officeart/2005/8/layout/vList4"/>
    <dgm:cxn modelId="{5680F051-FFBC-4564-92EB-47BCA83D40E3}" type="presParOf" srcId="{273CE088-08AF-4F82-8D9F-2DF905E0BC60}" destId="{12571452-B018-4DC2-AD85-4A2136F544B7}" srcOrd="1" destOrd="0" presId="urn:microsoft.com/office/officeart/2005/8/layout/vList4"/>
    <dgm:cxn modelId="{6D5B3321-28D0-4709-9AA7-3DF9947190E0}" type="presParOf" srcId="{273CE088-08AF-4F82-8D9F-2DF905E0BC60}" destId="{AD9BA8EA-D801-44B9-AC09-E4CFB99FE2AA}" srcOrd="2" destOrd="0" presId="urn:microsoft.com/office/officeart/2005/8/layout/vList4"/>
    <dgm:cxn modelId="{01DD83F5-AD61-4ACC-B02B-22D3FACAE3D0}" type="presParOf" srcId="{AD9BA8EA-D801-44B9-AC09-E4CFB99FE2AA}" destId="{81A91C89-F4B1-41A6-8E23-ED865B1A54DC}" srcOrd="0" destOrd="0" presId="urn:microsoft.com/office/officeart/2005/8/layout/vList4"/>
    <dgm:cxn modelId="{90BDD6AE-D867-46A4-AA47-AAF9C5D4DBAF}" type="presParOf" srcId="{AD9BA8EA-D801-44B9-AC09-E4CFB99FE2AA}" destId="{11F05BCC-EADA-4FF4-8E03-0EC18CC3CAF5}" srcOrd="1" destOrd="0" presId="urn:microsoft.com/office/officeart/2005/8/layout/vList4"/>
    <dgm:cxn modelId="{B97098E6-EEDC-4694-8634-90EF58BC3CFA}" type="presParOf" srcId="{AD9BA8EA-D801-44B9-AC09-E4CFB99FE2AA}" destId="{960C1A85-8FD2-4B1B-813F-9B8588BE2FA6}"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4_2" csCatId="accent4" phldr="1"/>
      <dgm:spPr/>
      <dgm:t>
        <a:bodyPr/>
        <a:lstStyle/>
        <a:p>
          <a:endParaRPr lang="en-US"/>
        </a:p>
      </dgm:t>
    </dgm:pt>
    <dgm:pt modelId="{C5464CD1-2A0A-42CF-9EFB-CFBD923C7CDB}">
      <dgm:prSet/>
      <dgm:spPr/>
      <dgm:t>
        <a:bodyPr/>
        <a:lstStyle/>
        <a:p>
          <a:r>
            <a:rPr lang="en-US" dirty="0"/>
            <a:t>What is the minimum batch size to avoid </a:t>
          </a:r>
          <a:r>
            <a:rPr lang="en-US" dirty="0" err="1"/>
            <a:t>DeltaStore</a:t>
          </a:r>
          <a:r>
            <a:rPr lang="en-US" dirty="0"/>
            <a:t>?</a:t>
          </a:r>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2939" custLinFactNeighborY="-1658"/>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1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EF22971-1D80-4164-A497-E26B1CE6A70F}"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43E343C8-B98D-43EC-B809-4BB9D16578F6}">
      <dgm:prSet/>
      <dgm:spPr/>
      <dgm:t>
        <a:bodyPr/>
        <a:lstStyle/>
        <a:p>
          <a:r>
            <a:rPr lang="en-US" dirty="0"/>
            <a:t>Extract</a:t>
          </a:r>
        </a:p>
      </dgm:t>
    </dgm:pt>
    <dgm:pt modelId="{77CA9727-1775-464B-99A7-9B888C97073C}" type="parTrans" cxnId="{2DBE34E8-35B6-4D0F-89C5-34F9BD3B8AA6}">
      <dgm:prSet/>
      <dgm:spPr/>
      <dgm:t>
        <a:bodyPr/>
        <a:lstStyle/>
        <a:p>
          <a:endParaRPr lang="en-US">
            <a:solidFill>
              <a:schemeClr val="tx1"/>
            </a:solidFill>
          </a:endParaRPr>
        </a:p>
      </dgm:t>
    </dgm:pt>
    <dgm:pt modelId="{6C5C623D-F71D-4A41-BDBF-5B52D82FE29E}" type="sibTrans" cxnId="{2DBE34E8-35B6-4D0F-89C5-34F9BD3B8AA6}">
      <dgm:prSet/>
      <dgm:spPr/>
      <dgm:t>
        <a:bodyPr/>
        <a:lstStyle/>
        <a:p>
          <a:endParaRPr lang="en-US">
            <a:solidFill>
              <a:schemeClr val="tx1"/>
            </a:solidFill>
          </a:endParaRPr>
        </a:p>
      </dgm:t>
    </dgm:pt>
    <dgm:pt modelId="{CFF5E844-E2B9-4195-A0EC-8C064A483F78}">
      <dgm:prSet/>
      <dgm:spPr/>
      <dgm:t>
        <a:bodyPr/>
        <a:lstStyle/>
        <a:p>
          <a:r>
            <a:rPr lang="en-US"/>
            <a:t>Land into Blob Storage or Data Lake</a:t>
          </a:r>
          <a:endParaRPr lang="en-US" dirty="0"/>
        </a:p>
      </dgm:t>
    </dgm:pt>
    <dgm:pt modelId="{87D71632-846D-4EE4-934E-D5FF1853542B}" type="sibTrans" cxnId="{FEFC85AF-51C8-49E7-A174-5D8F00D58EAD}">
      <dgm:prSet/>
      <dgm:spPr/>
      <dgm:t>
        <a:bodyPr/>
        <a:lstStyle/>
        <a:p>
          <a:endParaRPr lang="en-US">
            <a:solidFill>
              <a:schemeClr val="tx1"/>
            </a:solidFill>
          </a:endParaRPr>
        </a:p>
      </dgm:t>
    </dgm:pt>
    <dgm:pt modelId="{CD53BE8A-8246-444F-9FFC-46F17845CD7C}" type="parTrans" cxnId="{FEFC85AF-51C8-49E7-A174-5D8F00D58EAD}">
      <dgm:prSet/>
      <dgm:spPr/>
      <dgm:t>
        <a:bodyPr/>
        <a:lstStyle/>
        <a:p>
          <a:endParaRPr lang="en-US">
            <a:solidFill>
              <a:schemeClr val="tx1"/>
            </a:solidFill>
          </a:endParaRPr>
        </a:p>
      </dgm:t>
    </dgm:pt>
    <dgm:pt modelId="{F8972BDB-00DF-469C-9C43-CBF6F1C545B5}">
      <dgm:prSet/>
      <dgm:spPr/>
      <dgm:t>
        <a:bodyPr/>
        <a:lstStyle/>
        <a:p>
          <a:r>
            <a:rPr lang="en-US"/>
            <a:t>Prepare for loading</a:t>
          </a:r>
          <a:endParaRPr lang="en-US" dirty="0"/>
        </a:p>
      </dgm:t>
    </dgm:pt>
    <dgm:pt modelId="{004E9277-1A53-4394-AFD1-EBFDF1CBE275}" type="sibTrans" cxnId="{4DD318A7-08C0-4CB4-99E9-13AF2E312410}">
      <dgm:prSet/>
      <dgm:spPr/>
      <dgm:t>
        <a:bodyPr/>
        <a:lstStyle/>
        <a:p>
          <a:endParaRPr lang="en-US">
            <a:solidFill>
              <a:schemeClr val="tx1"/>
            </a:solidFill>
          </a:endParaRPr>
        </a:p>
      </dgm:t>
    </dgm:pt>
    <dgm:pt modelId="{B0B63240-0F93-4244-8511-DD5E4087022D}" type="parTrans" cxnId="{4DD318A7-08C0-4CB4-99E9-13AF2E312410}">
      <dgm:prSet/>
      <dgm:spPr/>
      <dgm:t>
        <a:bodyPr/>
        <a:lstStyle/>
        <a:p>
          <a:endParaRPr lang="en-US">
            <a:solidFill>
              <a:schemeClr val="tx1"/>
            </a:solidFill>
          </a:endParaRPr>
        </a:p>
      </dgm:t>
    </dgm:pt>
    <dgm:pt modelId="{E2D18663-04D2-4F95-A736-D546E61D6345}">
      <dgm:prSet/>
      <dgm:spPr/>
      <dgm:t>
        <a:bodyPr/>
        <a:lstStyle/>
        <a:p>
          <a:r>
            <a:rPr lang="en-US"/>
            <a:t>Load into staging</a:t>
          </a:r>
          <a:endParaRPr lang="en-US" dirty="0"/>
        </a:p>
      </dgm:t>
    </dgm:pt>
    <dgm:pt modelId="{1A6D344F-937E-474D-BCAB-AF7768DDAB8D}" type="sibTrans" cxnId="{87A7E205-634A-4CDD-9DF5-2C23381F3DAF}">
      <dgm:prSet/>
      <dgm:spPr/>
      <dgm:t>
        <a:bodyPr/>
        <a:lstStyle/>
        <a:p>
          <a:endParaRPr lang="en-US">
            <a:solidFill>
              <a:schemeClr val="tx1"/>
            </a:solidFill>
          </a:endParaRPr>
        </a:p>
      </dgm:t>
    </dgm:pt>
    <dgm:pt modelId="{6E160B8D-42B3-480C-8F08-AE724A2E2CCE}" type="parTrans" cxnId="{87A7E205-634A-4CDD-9DF5-2C23381F3DAF}">
      <dgm:prSet/>
      <dgm:spPr/>
      <dgm:t>
        <a:bodyPr/>
        <a:lstStyle/>
        <a:p>
          <a:endParaRPr lang="en-US">
            <a:solidFill>
              <a:schemeClr val="tx1"/>
            </a:solidFill>
          </a:endParaRPr>
        </a:p>
      </dgm:t>
    </dgm:pt>
    <dgm:pt modelId="{DCDA5363-A6EB-43F6-8FBA-8958E4ECDCCF}">
      <dgm:prSet/>
      <dgm:spPr/>
      <dgm:t>
        <a:bodyPr/>
        <a:lstStyle/>
        <a:p>
          <a:r>
            <a:rPr lang="en-US"/>
            <a:t>Transform</a:t>
          </a:r>
          <a:endParaRPr lang="en-US" dirty="0"/>
        </a:p>
      </dgm:t>
    </dgm:pt>
    <dgm:pt modelId="{DD32024E-7308-483E-BCB8-477BBB8E59E5}" type="sibTrans" cxnId="{13592CE2-6807-4F42-9C31-86E8BBBDE637}">
      <dgm:prSet/>
      <dgm:spPr/>
      <dgm:t>
        <a:bodyPr/>
        <a:lstStyle/>
        <a:p>
          <a:endParaRPr lang="en-US">
            <a:solidFill>
              <a:schemeClr val="tx1"/>
            </a:solidFill>
          </a:endParaRPr>
        </a:p>
      </dgm:t>
    </dgm:pt>
    <dgm:pt modelId="{CE6361DE-2A1B-4E75-8F65-EA755BA97571}" type="parTrans" cxnId="{13592CE2-6807-4F42-9C31-86E8BBBDE637}">
      <dgm:prSet/>
      <dgm:spPr/>
      <dgm:t>
        <a:bodyPr/>
        <a:lstStyle/>
        <a:p>
          <a:endParaRPr lang="en-US">
            <a:solidFill>
              <a:schemeClr val="tx1"/>
            </a:solidFill>
          </a:endParaRPr>
        </a:p>
      </dgm:t>
    </dgm:pt>
    <dgm:pt modelId="{A13115C1-2A02-4116-A5A0-B8D701EDED9C}">
      <dgm:prSet/>
      <dgm:spPr/>
      <dgm:t>
        <a:bodyPr/>
        <a:lstStyle/>
        <a:p>
          <a:r>
            <a:rPr lang="en-US"/>
            <a:t>Insert into destination</a:t>
          </a:r>
          <a:endParaRPr lang="en-US" dirty="0"/>
        </a:p>
      </dgm:t>
    </dgm:pt>
    <dgm:pt modelId="{9C11F9A1-B449-43D8-B8D9-5431C2F10A39}" type="sibTrans" cxnId="{81E9DE11-9512-4A92-A9A8-1410A2578A69}">
      <dgm:prSet/>
      <dgm:spPr/>
      <dgm:t>
        <a:bodyPr/>
        <a:lstStyle/>
        <a:p>
          <a:endParaRPr lang="en-US">
            <a:solidFill>
              <a:schemeClr val="tx1"/>
            </a:solidFill>
          </a:endParaRPr>
        </a:p>
      </dgm:t>
    </dgm:pt>
    <dgm:pt modelId="{771A6FF3-6804-40BC-B717-3F45C074D39B}" type="parTrans" cxnId="{81E9DE11-9512-4A92-A9A8-1410A2578A69}">
      <dgm:prSet/>
      <dgm:spPr/>
      <dgm:t>
        <a:bodyPr/>
        <a:lstStyle/>
        <a:p>
          <a:endParaRPr lang="en-US">
            <a:solidFill>
              <a:schemeClr val="tx1"/>
            </a:solidFill>
          </a:endParaRPr>
        </a:p>
      </dgm:t>
    </dgm:pt>
    <dgm:pt modelId="{C387003C-5AAC-45DA-A02F-3A95E255D625}" type="pres">
      <dgm:prSet presAssocID="{DEF22971-1D80-4164-A497-E26B1CE6A70F}" presName="linear" presStyleCnt="0">
        <dgm:presLayoutVars>
          <dgm:dir/>
          <dgm:resizeHandles val="exact"/>
        </dgm:presLayoutVars>
      </dgm:prSet>
      <dgm:spPr/>
    </dgm:pt>
    <dgm:pt modelId="{0B8CD0EA-D616-42F8-91B9-4BA53F79C970}" type="pres">
      <dgm:prSet presAssocID="{43E343C8-B98D-43EC-B809-4BB9D16578F6}" presName="comp" presStyleCnt="0"/>
      <dgm:spPr/>
    </dgm:pt>
    <dgm:pt modelId="{901F2F32-F809-4AE4-AC4C-F184C69E64A0}" type="pres">
      <dgm:prSet presAssocID="{43E343C8-B98D-43EC-B809-4BB9D16578F6}" presName="box" presStyleLbl="node1" presStyleIdx="0" presStyleCnt="6"/>
      <dgm:spPr/>
    </dgm:pt>
    <dgm:pt modelId="{9BFFF13A-C2F1-407F-955D-6B60AE97EBC2}" type="pres">
      <dgm:prSet presAssocID="{43E343C8-B98D-43EC-B809-4BB9D16578F6}" presName="img" presStyleLbl="fgImgPlace1" presStyleIdx="0" presStyleCnt="6"/>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Network diagram"/>
        </a:ext>
      </dgm:extLst>
    </dgm:pt>
    <dgm:pt modelId="{C0AF4920-32A0-4A51-B3D3-0BBEDA84FD9A}" type="pres">
      <dgm:prSet presAssocID="{43E343C8-B98D-43EC-B809-4BB9D16578F6}" presName="text" presStyleLbl="node1" presStyleIdx="0" presStyleCnt="6">
        <dgm:presLayoutVars>
          <dgm:bulletEnabled val="1"/>
        </dgm:presLayoutVars>
      </dgm:prSet>
      <dgm:spPr/>
    </dgm:pt>
    <dgm:pt modelId="{08D25CFC-08A9-4E35-84FB-78E989772BC8}" type="pres">
      <dgm:prSet presAssocID="{6C5C623D-F71D-4A41-BDBF-5B52D82FE29E}" presName="spacer" presStyleCnt="0"/>
      <dgm:spPr/>
    </dgm:pt>
    <dgm:pt modelId="{916AE62D-E492-431C-939B-B959B55BD3AB}" type="pres">
      <dgm:prSet presAssocID="{CFF5E844-E2B9-4195-A0EC-8C064A483F78}" presName="comp" presStyleCnt="0"/>
      <dgm:spPr/>
    </dgm:pt>
    <dgm:pt modelId="{E40B831B-926B-454E-97FB-EA928005D3E0}" type="pres">
      <dgm:prSet presAssocID="{CFF5E844-E2B9-4195-A0EC-8C064A483F78}" presName="box" presStyleLbl="node1" presStyleIdx="1" presStyleCnt="6"/>
      <dgm:spPr/>
    </dgm:pt>
    <dgm:pt modelId="{6238A389-8909-4F9D-8DC1-17F25504F656}" type="pres">
      <dgm:prSet presAssocID="{CFF5E844-E2B9-4195-A0EC-8C064A483F78}" presName="img" presStyleLbl="fgImgPlac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Database"/>
        </a:ext>
      </dgm:extLst>
    </dgm:pt>
    <dgm:pt modelId="{19F640FB-48DC-4AEE-982E-0E7B43778096}" type="pres">
      <dgm:prSet presAssocID="{CFF5E844-E2B9-4195-A0EC-8C064A483F78}" presName="text" presStyleLbl="node1" presStyleIdx="1" presStyleCnt="6">
        <dgm:presLayoutVars>
          <dgm:bulletEnabled val="1"/>
        </dgm:presLayoutVars>
      </dgm:prSet>
      <dgm:spPr/>
    </dgm:pt>
    <dgm:pt modelId="{89C7A195-C726-4BE7-BD34-110926510111}" type="pres">
      <dgm:prSet presAssocID="{87D71632-846D-4EE4-934E-D5FF1853542B}" presName="spacer" presStyleCnt="0"/>
      <dgm:spPr/>
    </dgm:pt>
    <dgm:pt modelId="{4515A283-5B5B-4A0C-8A6B-6E2AA9289C7F}" type="pres">
      <dgm:prSet presAssocID="{F8972BDB-00DF-469C-9C43-CBF6F1C545B5}" presName="comp" presStyleCnt="0"/>
      <dgm:spPr/>
    </dgm:pt>
    <dgm:pt modelId="{D0C92BE0-2B78-4713-865C-57BC3F15A3DF}" type="pres">
      <dgm:prSet presAssocID="{F8972BDB-00DF-469C-9C43-CBF6F1C545B5}" presName="box" presStyleLbl="node1" presStyleIdx="2" presStyleCnt="6"/>
      <dgm:spPr/>
    </dgm:pt>
    <dgm:pt modelId="{5F759FA2-B410-49E0-A037-DF7A4B2D213F}" type="pres">
      <dgm:prSet presAssocID="{F8972BDB-00DF-469C-9C43-CBF6F1C545B5}" presName="img" presStyleLbl="fgImgPlac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Check List"/>
        </a:ext>
      </dgm:extLst>
    </dgm:pt>
    <dgm:pt modelId="{107EED8F-2820-4DEC-B77F-4DE485874C2D}" type="pres">
      <dgm:prSet presAssocID="{F8972BDB-00DF-469C-9C43-CBF6F1C545B5}" presName="text" presStyleLbl="node1" presStyleIdx="2" presStyleCnt="6">
        <dgm:presLayoutVars>
          <dgm:bulletEnabled val="1"/>
        </dgm:presLayoutVars>
      </dgm:prSet>
      <dgm:spPr/>
    </dgm:pt>
    <dgm:pt modelId="{64C2212F-FF98-43F7-A271-DFDA2ED4B4CB}" type="pres">
      <dgm:prSet presAssocID="{004E9277-1A53-4394-AFD1-EBFDF1CBE275}" presName="spacer" presStyleCnt="0"/>
      <dgm:spPr/>
    </dgm:pt>
    <dgm:pt modelId="{E8F9EBFD-EC4D-4AEC-B12A-384A6345C89E}" type="pres">
      <dgm:prSet presAssocID="{E2D18663-04D2-4F95-A736-D546E61D6345}" presName="comp" presStyleCnt="0"/>
      <dgm:spPr/>
    </dgm:pt>
    <dgm:pt modelId="{69B9A96D-00F1-4FD7-A2FE-F17200276542}" type="pres">
      <dgm:prSet presAssocID="{E2D18663-04D2-4F95-A736-D546E61D6345}" presName="box" presStyleLbl="node1" presStyleIdx="3" presStyleCnt="6"/>
      <dgm:spPr/>
    </dgm:pt>
    <dgm:pt modelId="{50D24CA5-DD17-467B-8A25-8803B1F24C1C}" type="pres">
      <dgm:prSet presAssocID="{E2D18663-04D2-4F95-A736-D546E61D6345}" presName="img" presStyleLbl="fgImgPlac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Hourglass"/>
        </a:ext>
      </dgm:extLst>
    </dgm:pt>
    <dgm:pt modelId="{91218D61-26DF-46F0-9FE9-0A9F668BADB4}" type="pres">
      <dgm:prSet presAssocID="{E2D18663-04D2-4F95-A736-D546E61D6345}" presName="text" presStyleLbl="node1" presStyleIdx="3" presStyleCnt="6">
        <dgm:presLayoutVars>
          <dgm:bulletEnabled val="1"/>
        </dgm:presLayoutVars>
      </dgm:prSet>
      <dgm:spPr/>
    </dgm:pt>
    <dgm:pt modelId="{A7DE4E23-21D5-4C9C-901E-9DEC613057AA}" type="pres">
      <dgm:prSet presAssocID="{1A6D344F-937E-474D-BCAB-AF7768DDAB8D}" presName="spacer" presStyleCnt="0"/>
      <dgm:spPr/>
    </dgm:pt>
    <dgm:pt modelId="{9922E9D8-08EC-4AB7-AC95-990827B41031}" type="pres">
      <dgm:prSet presAssocID="{DCDA5363-A6EB-43F6-8FBA-8958E4ECDCCF}" presName="comp" presStyleCnt="0"/>
      <dgm:spPr/>
    </dgm:pt>
    <dgm:pt modelId="{D0EE8767-BAA0-47EE-8304-D16217E72DAA}" type="pres">
      <dgm:prSet presAssocID="{DCDA5363-A6EB-43F6-8FBA-8958E4ECDCCF}" presName="box" presStyleLbl="node1" presStyleIdx="4" presStyleCnt="6"/>
      <dgm:spPr/>
    </dgm:pt>
    <dgm:pt modelId="{E4BFB56C-0D02-491E-8573-ECA5209FAA5F}" type="pres">
      <dgm:prSet presAssocID="{DCDA5363-A6EB-43F6-8FBA-8958E4ECDCCF}" presName="img" presStyleLbl="fgImgPlac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Head with Gears"/>
        </a:ext>
      </dgm:extLst>
    </dgm:pt>
    <dgm:pt modelId="{975B9E6A-2EF6-4E4B-BF32-1112BE68DB9A}" type="pres">
      <dgm:prSet presAssocID="{DCDA5363-A6EB-43F6-8FBA-8958E4ECDCCF}" presName="text" presStyleLbl="node1" presStyleIdx="4" presStyleCnt="6">
        <dgm:presLayoutVars>
          <dgm:bulletEnabled val="1"/>
        </dgm:presLayoutVars>
      </dgm:prSet>
      <dgm:spPr/>
    </dgm:pt>
    <dgm:pt modelId="{705FA42B-C5A8-4620-8905-CDF044B57D78}" type="pres">
      <dgm:prSet presAssocID="{DD32024E-7308-483E-BCB8-477BBB8E59E5}" presName="spacer" presStyleCnt="0"/>
      <dgm:spPr/>
    </dgm:pt>
    <dgm:pt modelId="{A7DC7161-B21A-403B-A1BC-84966B1171C3}" type="pres">
      <dgm:prSet presAssocID="{A13115C1-2A02-4116-A5A0-B8D701EDED9C}" presName="comp" presStyleCnt="0"/>
      <dgm:spPr/>
    </dgm:pt>
    <dgm:pt modelId="{F4F05212-0B70-4348-AE8B-175F12BB70E6}" type="pres">
      <dgm:prSet presAssocID="{A13115C1-2A02-4116-A5A0-B8D701EDED9C}" presName="box" presStyleLbl="node1" presStyleIdx="5" presStyleCnt="6"/>
      <dgm:spPr/>
    </dgm:pt>
    <dgm:pt modelId="{8A907AFC-B2BB-4F98-B562-CA6A1AA15714}" type="pres">
      <dgm:prSet presAssocID="{A13115C1-2A02-4116-A5A0-B8D701EDED9C}" presName="img" presStyleLbl="fgImgPlace1" presStyleIdx="5" presStyleCnt="6"/>
      <dgm:spPr>
        <a:blipFill>
          <a:blip xmlns:r="http://schemas.openxmlformats.org/officeDocument/2006/relationships" r:embed="rId11">
            <a:extLst>
              <a:ext uri="{96DAC541-7B7A-43D3-8B79-37D633B846F1}">
                <asvg:svgBlip xmlns:asvg="http://schemas.microsoft.com/office/drawing/2016/SVG/main" r:embed="rId12"/>
              </a:ext>
            </a:extLst>
          </a:blip>
          <a:srcRect/>
          <a:stretch>
            <a:fillRect/>
          </a:stretch>
        </a:blipFill>
      </dgm:spPr>
      <dgm:extLst>
        <a:ext uri="{E40237B7-FDA0-4F09-8148-C483321AD2D9}">
          <dgm14:cNvPr xmlns:dgm14="http://schemas.microsoft.com/office/drawing/2010/diagram" id="0" name="" descr="Download"/>
        </a:ext>
      </dgm:extLst>
    </dgm:pt>
    <dgm:pt modelId="{4F48924F-6D0C-451E-A8ED-1E3536140DAF}" type="pres">
      <dgm:prSet presAssocID="{A13115C1-2A02-4116-A5A0-B8D701EDED9C}" presName="text" presStyleLbl="node1" presStyleIdx="5" presStyleCnt="6">
        <dgm:presLayoutVars>
          <dgm:bulletEnabled val="1"/>
        </dgm:presLayoutVars>
      </dgm:prSet>
      <dgm:spPr/>
    </dgm:pt>
  </dgm:ptLst>
  <dgm:cxnLst>
    <dgm:cxn modelId="{87A7E205-634A-4CDD-9DF5-2C23381F3DAF}" srcId="{DEF22971-1D80-4164-A497-E26B1CE6A70F}" destId="{E2D18663-04D2-4F95-A736-D546E61D6345}" srcOrd="3" destOrd="0" parTransId="{6E160B8D-42B3-480C-8F08-AE724A2E2CCE}" sibTransId="{1A6D344F-937E-474D-BCAB-AF7768DDAB8D}"/>
    <dgm:cxn modelId="{E502C40C-86A3-42FB-93CE-B0569E4B65C8}" type="presOf" srcId="{A13115C1-2A02-4116-A5A0-B8D701EDED9C}" destId="{F4F05212-0B70-4348-AE8B-175F12BB70E6}" srcOrd="0" destOrd="0" presId="urn:microsoft.com/office/officeart/2005/8/layout/vList4"/>
    <dgm:cxn modelId="{81E9DE11-9512-4A92-A9A8-1410A2578A69}" srcId="{DEF22971-1D80-4164-A497-E26B1CE6A70F}" destId="{A13115C1-2A02-4116-A5A0-B8D701EDED9C}" srcOrd="5" destOrd="0" parTransId="{771A6FF3-6804-40BC-B717-3F45C074D39B}" sibTransId="{9C11F9A1-B449-43D8-B8D9-5431C2F10A39}"/>
    <dgm:cxn modelId="{405C8F1F-A785-457A-BE16-CEB1ECCEA984}" type="presOf" srcId="{A13115C1-2A02-4116-A5A0-B8D701EDED9C}" destId="{4F48924F-6D0C-451E-A8ED-1E3536140DAF}" srcOrd="1" destOrd="0" presId="urn:microsoft.com/office/officeart/2005/8/layout/vList4"/>
    <dgm:cxn modelId="{15874443-A038-4E61-8D0E-B70D0DB82D10}" type="presOf" srcId="{43E343C8-B98D-43EC-B809-4BB9D16578F6}" destId="{C0AF4920-32A0-4A51-B3D3-0BBEDA84FD9A}" srcOrd="1" destOrd="0" presId="urn:microsoft.com/office/officeart/2005/8/layout/vList4"/>
    <dgm:cxn modelId="{4DD318A7-08C0-4CB4-99E9-13AF2E312410}" srcId="{DEF22971-1D80-4164-A497-E26B1CE6A70F}" destId="{F8972BDB-00DF-469C-9C43-CBF6F1C545B5}" srcOrd="2" destOrd="0" parTransId="{B0B63240-0F93-4244-8511-DD5E4087022D}" sibTransId="{004E9277-1A53-4394-AFD1-EBFDF1CBE275}"/>
    <dgm:cxn modelId="{FEFC85AF-51C8-49E7-A174-5D8F00D58EAD}" srcId="{DEF22971-1D80-4164-A497-E26B1CE6A70F}" destId="{CFF5E844-E2B9-4195-A0EC-8C064A483F78}" srcOrd="1" destOrd="0" parTransId="{CD53BE8A-8246-444F-9FFC-46F17845CD7C}" sibTransId="{87D71632-846D-4EE4-934E-D5FF1853542B}"/>
    <dgm:cxn modelId="{E5C994CD-980D-4912-A36E-F657E35DA28C}" type="presOf" srcId="{43E343C8-B98D-43EC-B809-4BB9D16578F6}" destId="{901F2F32-F809-4AE4-AC4C-F184C69E64A0}" srcOrd="0" destOrd="0" presId="urn:microsoft.com/office/officeart/2005/8/layout/vList4"/>
    <dgm:cxn modelId="{7834BFD7-49A9-43F6-887A-328653E8F828}" type="presOf" srcId="{E2D18663-04D2-4F95-A736-D546E61D6345}" destId="{91218D61-26DF-46F0-9FE9-0A9F668BADB4}" srcOrd="1" destOrd="0" presId="urn:microsoft.com/office/officeart/2005/8/layout/vList4"/>
    <dgm:cxn modelId="{13592CE2-6807-4F42-9C31-86E8BBBDE637}" srcId="{DEF22971-1D80-4164-A497-E26B1CE6A70F}" destId="{DCDA5363-A6EB-43F6-8FBA-8958E4ECDCCF}" srcOrd="4" destOrd="0" parTransId="{CE6361DE-2A1B-4E75-8F65-EA755BA97571}" sibTransId="{DD32024E-7308-483E-BCB8-477BBB8E59E5}"/>
    <dgm:cxn modelId="{F5244EE5-86E9-4DE2-9424-B8367B5E90E5}" type="presOf" srcId="{CFF5E844-E2B9-4195-A0EC-8C064A483F78}" destId="{E40B831B-926B-454E-97FB-EA928005D3E0}" srcOrd="0" destOrd="0" presId="urn:microsoft.com/office/officeart/2005/8/layout/vList4"/>
    <dgm:cxn modelId="{E1CC96E5-37FC-45DB-967D-EB49A8AB8EBB}" type="presOf" srcId="{DCDA5363-A6EB-43F6-8FBA-8958E4ECDCCF}" destId="{D0EE8767-BAA0-47EE-8304-D16217E72DAA}" srcOrd="0" destOrd="0" presId="urn:microsoft.com/office/officeart/2005/8/layout/vList4"/>
    <dgm:cxn modelId="{3BA3F3E6-3D6C-4CDF-B6C0-FFD64F205134}" type="presOf" srcId="{F8972BDB-00DF-469C-9C43-CBF6F1C545B5}" destId="{107EED8F-2820-4DEC-B77F-4DE485874C2D}" srcOrd="1" destOrd="0" presId="urn:microsoft.com/office/officeart/2005/8/layout/vList4"/>
    <dgm:cxn modelId="{2DBE34E8-35B6-4D0F-89C5-34F9BD3B8AA6}" srcId="{DEF22971-1D80-4164-A497-E26B1CE6A70F}" destId="{43E343C8-B98D-43EC-B809-4BB9D16578F6}" srcOrd="0" destOrd="0" parTransId="{77CA9727-1775-464B-99A7-9B888C97073C}" sibTransId="{6C5C623D-F71D-4A41-BDBF-5B52D82FE29E}"/>
    <dgm:cxn modelId="{1E4D09EC-7F2C-4F75-A96C-8DA5CF4651A1}" type="presOf" srcId="{CFF5E844-E2B9-4195-A0EC-8C064A483F78}" destId="{19F640FB-48DC-4AEE-982E-0E7B43778096}" srcOrd="1" destOrd="0" presId="urn:microsoft.com/office/officeart/2005/8/layout/vList4"/>
    <dgm:cxn modelId="{5A01FCEE-DA1A-4D99-85B7-2E11FFDFBCAE}" type="presOf" srcId="{DCDA5363-A6EB-43F6-8FBA-8958E4ECDCCF}" destId="{975B9E6A-2EF6-4E4B-BF32-1112BE68DB9A}" srcOrd="1" destOrd="0" presId="urn:microsoft.com/office/officeart/2005/8/layout/vList4"/>
    <dgm:cxn modelId="{D6D02EF3-9D7C-41C8-B752-53D79BAEF56C}" type="presOf" srcId="{E2D18663-04D2-4F95-A736-D546E61D6345}" destId="{69B9A96D-00F1-4FD7-A2FE-F17200276542}" srcOrd="0" destOrd="0" presId="urn:microsoft.com/office/officeart/2005/8/layout/vList4"/>
    <dgm:cxn modelId="{9A428DF7-5CAA-4054-B809-42C8FC2F27E3}" type="presOf" srcId="{DEF22971-1D80-4164-A497-E26B1CE6A70F}" destId="{C387003C-5AAC-45DA-A02F-3A95E255D625}" srcOrd="0" destOrd="0" presId="urn:microsoft.com/office/officeart/2005/8/layout/vList4"/>
    <dgm:cxn modelId="{0E2656FD-AA59-4877-83B8-A0D69D13FB99}" type="presOf" srcId="{F8972BDB-00DF-469C-9C43-CBF6F1C545B5}" destId="{D0C92BE0-2B78-4713-865C-57BC3F15A3DF}" srcOrd="0" destOrd="0" presId="urn:microsoft.com/office/officeart/2005/8/layout/vList4"/>
    <dgm:cxn modelId="{E057B659-652B-41C5-8AC1-F8ADC223197B}" type="presParOf" srcId="{C387003C-5AAC-45DA-A02F-3A95E255D625}" destId="{0B8CD0EA-D616-42F8-91B9-4BA53F79C970}" srcOrd="0" destOrd="0" presId="urn:microsoft.com/office/officeart/2005/8/layout/vList4"/>
    <dgm:cxn modelId="{5B8B799A-8749-4753-98A4-AC40C1BCBED6}" type="presParOf" srcId="{0B8CD0EA-D616-42F8-91B9-4BA53F79C970}" destId="{901F2F32-F809-4AE4-AC4C-F184C69E64A0}" srcOrd="0" destOrd="0" presId="urn:microsoft.com/office/officeart/2005/8/layout/vList4"/>
    <dgm:cxn modelId="{E5B02C1B-AC0D-4594-89DE-7C165D7C39EF}" type="presParOf" srcId="{0B8CD0EA-D616-42F8-91B9-4BA53F79C970}" destId="{9BFFF13A-C2F1-407F-955D-6B60AE97EBC2}" srcOrd="1" destOrd="0" presId="urn:microsoft.com/office/officeart/2005/8/layout/vList4"/>
    <dgm:cxn modelId="{97BAF03A-ED28-4ACC-8090-37915BDD2889}" type="presParOf" srcId="{0B8CD0EA-D616-42F8-91B9-4BA53F79C970}" destId="{C0AF4920-32A0-4A51-B3D3-0BBEDA84FD9A}" srcOrd="2" destOrd="0" presId="urn:microsoft.com/office/officeart/2005/8/layout/vList4"/>
    <dgm:cxn modelId="{9AA15FBA-3F46-44ED-8EEB-418AB8E88DF0}" type="presParOf" srcId="{C387003C-5AAC-45DA-A02F-3A95E255D625}" destId="{08D25CFC-08A9-4E35-84FB-78E989772BC8}" srcOrd="1" destOrd="0" presId="urn:microsoft.com/office/officeart/2005/8/layout/vList4"/>
    <dgm:cxn modelId="{76B6131D-0523-4A31-A499-BFEAAAC7C006}" type="presParOf" srcId="{C387003C-5AAC-45DA-A02F-3A95E255D625}" destId="{916AE62D-E492-431C-939B-B959B55BD3AB}" srcOrd="2" destOrd="0" presId="urn:microsoft.com/office/officeart/2005/8/layout/vList4"/>
    <dgm:cxn modelId="{9F10FEC2-72A8-4D16-A8F6-D0F7D449C895}" type="presParOf" srcId="{916AE62D-E492-431C-939B-B959B55BD3AB}" destId="{E40B831B-926B-454E-97FB-EA928005D3E0}" srcOrd="0" destOrd="0" presId="urn:microsoft.com/office/officeart/2005/8/layout/vList4"/>
    <dgm:cxn modelId="{8D59F297-7F9A-4B12-AE4E-E372C1491DE2}" type="presParOf" srcId="{916AE62D-E492-431C-939B-B959B55BD3AB}" destId="{6238A389-8909-4F9D-8DC1-17F25504F656}" srcOrd="1" destOrd="0" presId="urn:microsoft.com/office/officeart/2005/8/layout/vList4"/>
    <dgm:cxn modelId="{3D2037BE-466D-4046-B1EA-1CC3B6E86576}" type="presParOf" srcId="{916AE62D-E492-431C-939B-B959B55BD3AB}" destId="{19F640FB-48DC-4AEE-982E-0E7B43778096}" srcOrd="2" destOrd="0" presId="urn:microsoft.com/office/officeart/2005/8/layout/vList4"/>
    <dgm:cxn modelId="{FC12E454-4B95-4717-946E-E77F4FA67FA9}" type="presParOf" srcId="{C387003C-5AAC-45DA-A02F-3A95E255D625}" destId="{89C7A195-C726-4BE7-BD34-110926510111}" srcOrd="3" destOrd="0" presId="urn:microsoft.com/office/officeart/2005/8/layout/vList4"/>
    <dgm:cxn modelId="{97DA0059-A3C1-4BB5-B460-14B13158B16F}" type="presParOf" srcId="{C387003C-5AAC-45DA-A02F-3A95E255D625}" destId="{4515A283-5B5B-4A0C-8A6B-6E2AA9289C7F}" srcOrd="4" destOrd="0" presId="urn:microsoft.com/office/officeart/2005/8/layout/vList4"/>
    <dgm:cxn modelId="{4D9C963E-0CE6-4704-8A2D-DD2FFBB74982}" type="presParOf" srcId="{4515A283-5B5B-4A0C-8A6B-6E2AA9289C7F}" destId="{D0C92BE0-2B78-4713-865C-57BC3F15A3DF}" srcOrd="0" destOrd="0" presId="urn:microsoft.com/office/officeart/2005/8/layout/vList4"/>
    <dgm:cxn modelId="{7AFCC881-2453-4C1F-A261-5F483637D6D7}" type="presParOf" srcId="{4515A283-5B5B-4A0C-8A6B-6E2AA9289C7F}" destId="{5F759FA2-B410-49E0-A037-DF7A4B2D213F}" srcOrd="1" destOrd="0" presId="urn:microsoft.com/office/officeart/2005/8/layout/vList4"/>
    <dgm:cxn modelId="{A5F8E801-6883-4FB9-92BA-BD7BECF37593}" type="presParOf" srcId="{4515A283-5B5B-4A0C-8A6B-6E2AA9289C7F}" destId="{107EED8F-2820-4DEC-B77F-4DE485874C2D}" srcOrd="2" destOrd="0" presId="urn:microsoft.com/office/officeart/2005/8/layout/vList4"/>
    <dgm:cxn modelId="{7F7B30E5-D807-4DF4-9F4C-4D16FA0C49DE}" type="presParOf" srcId="{C387003C-5AAC-45DA-A02F-3A95E255D625}" destId="{64C2212F-FF98-43F7-A271-DFDA2ED4B4CB}" srcOrd="5" destOrd="0" presId="urn:microsoft.com/office/officeart/2005/8/layout/vList4"/>
    <dgm:cxn modelId="{DA5DA117-8522-486B-8CFE-2177884725C4}" type="presParOf" srcId="{C387003C-5AAC-45DA-A02F-3A95E255D625}" destId="{E8F9EBFD-EC4D-4AEC-B12A-384A6345C89E}" srcOrd="6" destOrd="0" presId="urn:microsoft.com/office/officeart/2005/8/layout/vList4"/>
    <dgm:cxn modelId="{509F3A6B-B2A7-4D7F-A705-0BD3785B209D}" type="presParOf" srcId="{E8F9EBFD-EC4D-4AEC-B12A-384A6345C89E}" destId="{69B9A96D-00F1-4FD7-A2FE-F17200276542}" srcOrd="0" destOrd="0" presId="urn:microsoft.com/office/officeart/2005/8/layout/vList4"/>
    <dgm:cxn modelId="{77F6AD8C-BD74-4EEF-80A6-A5C046FC226A}" type="presParOf" srcId="{E8F9EBFD-EC4D-4AEC-B12A-384A6345C89E}" destId="{50D24CA5-DD17-467B-8A25-8803B1F24C1C}" srcOrd="1" destOrd="0" presId="urn:microsoft.com/office/officeart/2005/8/layout/vList4"/>
    <dgm:cxn modelId="{BADE258B-7F62-451D-895F-EF6DE01174F0}" type="presParOf" srcId="{E8F9EBFD-EC4D-4AEC-B12A-384A6345C89E}" destId="{91218D61-26DF-46F0-9FE9-0A9F668BADB4}" srcOrd="2" destOrd="0" presId="urn:microsoft.com/office/officeart/2005/8/layout/vList4"/>
    <dgm:cxn modelId="{7EA7C0EA-3D0C-43CA-B961-7860C4984FDD}" type="presParOf" srcId="{C387003C-5AAC-45DA-A02F-3A95E255D625}" destId="{A7DE4E23-21D5-4C9C-901E-9DEC613057AA}" srcOrd="7" destOrd="0" presId="urn:microsoft.com/office/officeart/2005/8/layout/vList4"/>
    <dgm:cxn modelId="{918B27BD-F709-491D-BDB4-623F8FEE76A9}" type="presParOf" srcId="{C387003C-5AAC-45DA-A02F-3A95E255D625}" destId="{9922E9D8-08EC-4AB7-AC95-990827B41031}" srcOrd="8" destOrd="0" presId="urn:microsoft.com/office/officeart/2005/8/layout/vList4"/>
    <dgm:cxn modelId="{87E7A2A6-4E95-4B49-BDB2-3263385B3BAD}" type="presParOf" srcId="{9922E9D8-08EC-4AB7-AC95-990827B41031}" destId="{D0EE8767-BAA0-47EE-8304-D16217E72DAA}" srcOrd="0" destOrd="0" presId="urn:microsoft.com/office/officeart/2005/8/layout/vList4"/>
    <dgm:cxn modelId="{683B2D5E-8752-4353-AC5E-92ABF5280101}" type="presParOf" srcId="{9922E9D8-08EC-4AB7-AC95-990827B41031}" destId="{E4BFB56C-0D02-491E-8573-ECA5209FAA5F}" srcOrd="1" destOrd="0" presId="urn:microsoft.com/office/officeart/2005/8/layout/vList4"/>
    <dgm:cxn modelId="{C51230AB-541F-4D04-9EF4-6C69C99205BC}" type="presParOf" srcId="{9922E9D8-08EC-4AB7-AC95-990827B41031}" destId="{975B9E6A-2EF6-4E4B-BF32-1112BE68DB9A}" srcOrd="2" destOrd="0" presId="urn:microsoft.com/office/officeart/2005/8/layout/vList4"/>
    <dgm:cxn modelId="{28BE1A0D-EAAC-49BA-9E70-2976FC2296A9}" type="presParOf" srcId="{C387003C-5AAC-45DA-A02F-3A95E255D625}" destId="{705FA42B-C5A8-4620-8905-CDF044B57D78}" srcOrd="9" destOrd="0" presId="urn:microsoft.com/office/officeart/2005/8/layout/vList4"/>
    <dgm:cxn modelId="{5F9E4302-4731-41BE-89A3-E89B7FA48132}" type="presParOf" srcId="{C387003C-5AAC-45DA-A02F-3A95E255D625}" destId="{A7DC7161-B21A-403B-A1BC-84966B1171C3}" srcOrd="10" destOrd="0" presId="urn:microsoft.com/office/officeart/2005/8/layout/vList4"/>
    <dgm:cxn modelId="{ABD3AF2C-DBF2-460C-B8E2-1E84323B4945}" type="presParOf" srcId="{A7DC7161-B21A-403B-A1BC-84966B1171C3}" destId="{F4F05212-0B70-4348-AE8B-175F12BB70E6}" srcOrd="0" destOrd="0" presId="urn:microsoft.com/office/officeart/2005/8/layout/vList4"/>
    <dgm:cxn modelId="{72F33E3F-54CE-4334-AAB8-842F603C6DA8}" type="presParOf" srcId="{A7DC7161-B21A-403B-A1BC-84966B1171C3}" destId="{8A907AFC-B2BB-4F98-B562-CA6A1AA15714}" srcOrd="1" destOrd="0" presId="urn:microsoft.com/office/officeart/2005/8/layout/vList4"/>
    <dgm:cxn modelId="{DBB8D30D-E7E5-44B0-8042-682CAB1060C3}" type="presParOf" srcId="{A7DC7161-B21A-403B-A1BC-84966B1171C3}" destId="{4F48924F-6D0C-451E-A8ED-1E3536140DA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C5464CD1-2A0A-42CF-9EFB-CFBD923C7CDB}">
      <dgm:prSet/>
      <dgm:spPr/>
      <dgm:t>
        <a:bodyPr/>
        <a:lstStyle/>
        <a:p>
          <a:r>
            <a:rPr lang="en-US" dirty="0"/>
            <a:t>Which table type is the fastest way to load?</a:t>
          </a:r>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313" custLinFactNeighborY="0"/>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5_2" csCatId="accent5" phldr="1"/>
      <dgm:spPr/>
      <dgm:t>
        <a:bodyPr/>
        <a:lstStyle/>
        <a:p>
          <a:endParaRPr lang="en-US"/>
        </a:p>
      </dgm:t>
    </dgm:pt>
    <dgm:pt modelId="{C5464CD1-2A0A-42CF-9EFB-CFBD923C7CDB}">
      <dgm:prSet/>
      <dgm:spPr/>
      <dgm:t>
        <a:bodyPr/>
        <a:lstStyle/>
        <a:p>
          <a:r>
            <a:rPr lang="en-US" dirty="0"/>
            <a:t>How would you maximize a 10GB text file load?</a:t>
          </a:r>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55481" custLinFactNeighborY="-19619"/>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3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3_5" csCatId="accent3" phldr="1"/>
      <dgm:spPr/>
      <dgm:t>
        <a:bodyPr/>
        <a:lstStyle/>
        <a:p>
          <a:endParaRPr lang="en-US"/>
        </a:p>
      </dgm:t>
    </dgm:pt>
    <dgm:pt modelId="{C5464CD1-2A0A-42CF-9EFB-CFBD923C7CDB}">
      <dgm:prSet/>
      <dgm:spPr/>
      <dgm:t>
        <a:bodyPr/>
        <a:lstStyle/>
        <a:p>
          <a:r>
            <a:rPr lang="en-US" baseline="0" dirty="0"/>
            <a:t>For CCI, what is a reason why you may have inefficient (smaller) compressed RowGroups?</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Y="0"/>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4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2_3" csCatId="accent2" phldr="1"/>
      <dgm:spPr/>
      <dgm:t>
        <a:bodyPr/>
        <a:lstStyle/>
        <a:p>
          <a:endParaRPr lang="en-US"/>
        </a:p>
      </dgm:t>
    </dgm:pt>
    <dgm:pt modelId="{C5464CD1-2A0A-42CF-9EFB-CFBD923C7CDB}">
      <dgm:prSet/>
      <dgm:spPr/>
      <dgm:t>
        <a:bodyPr/>
        <a:lstStyle/>
        <a:p>
          <a:r>
            <a:rPr lang="en-US" baseline="0" dirty="0"/>
            <a:t>Why is ELT a recommended pattern for Synapse?</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2939" custLinFactNeighborY="-1658"/>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5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2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EF22971-1D80-4164-A497-E26B1CE6A70F}"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43E343C8-B98D-43EC-B809-4BB9D16578F6}">
      <dgm:prSet custT="1"/>
      <dgm:spPr/>
      <dgm:t>
        <a:bodyPr/>
        <a:lstStyle/>
        <a:p>
          <a:r>
            <a:rPr lang="en-US" sz="3600" dirty="0"/>
            <a:t>Extract to Supported File</a:t>
          </a:r>
        </a:p>
      </dgm:t>
    </dgm:pt>
    <dgm:pt modelId="{77CA9727-1775-464B-99A7-9B888C97073C}" type="parTrans" cxnId="{2DBE34E8-35B6-4D0F-89C5-34F9BD3B8AA6}">
      <dgm:prSet/>
      <dgm:spPr/>
      <dgm:t>
        <a:bodyPr/>
        <a:lstStyle/>
        <a:p>
          <a:endParaRPr lang="en-US" sz="1050"/>
        </a:p>
      </dgm:t>
    </dgm:pt>
    <dgm:pt modelId="{6C5C623D-F71D-4A41-BDBF-5B52D82FE29E}" type="sibTrans" cxnId="{2DBE34E8-35B6-4D0F-89C5-34F9BD3B8AA6}">
      <dgm:prSet/>
      <dgm:spPr/>
      <dgm:t>
        <a:bodyPr/>
        <a:lstStyle/>
        <a:p>
          <a:endParaRPr lang="en-US" sz="1050"/>
        </a:p>
      </dgm:t>
    </dgm:pt>
    <dgm:pt modelId="{6581BBC5-3E0D-4032-95B9-E480E4F5DAF3}">
      <dgm:prSet custT="1"/>
      <dgm:spPr/>
      <dgm:t>
        <a:bodyPr/>
        <a:lstStyle/>
        <a:p>
          <a:r>
            <a:rPr lang="en-US" sz="2000" dirty="0"/>
            <a:t>Delimited text or CSV</a:t>
          </a:r>
        </a:p>
      </dgm:t>
    </dgm:pt>
    <dgm:pt modelId="{D51C12BA-D51D-48D6-B99B-6492E9523266}" type="parTrans" cxnId="{3BE60E79-43ED-419F-9315-BC6FCF9779EB}">
      <dgm:prSet/>
      <dgm:spPr/>
      <dgm:t>
        <a:bodyPr/>
        <a:lstStyle/>
        <a:p>
          <a:endParaRPr lang="en-US" sz="1050"/>
        </a:p>
      </dgm:t>
    </dgm:pt>
    <dgm:pt modelId="{A5BBD0F2-42B4-4F6A-B0C3-A73B57D5115A}" type="sibTrans" cxnId="{3BE60E79-43ED-419F-9315-BC6FCF9779EB}">
      <dgm:prSet/>
      <dgm:spPr/>
      <dgm:t>
        <a:bodyPr/>
        <a:lstStyle/>
        <a:p>
          <a:endParaRPr lang="en-US" sz="1050"/>
        </a:p>
      </dgm:t>
    </dgm:pt>
    <dgm:pt modelId="{22392F41-416A-4774-BC59-1854B98051BB}">
      <dgm:prSet custT="1"/>
      <dgm:spPr/>
      <dgm:t>
        <a:bodyPr/>
        <a:lstStyle/>
        <a:p>
          <a:r>
            <a:rPr lang="en-US" sz="2000" dirty="0"/>
            <a:t>Compressed files: </a:t>
          </a:r>
          <a:r>
            <a:rPr lang="en-US" sz="2000" dirty="0" err="1"/>
            <a:t>Gzip</a:t>
          </a:r>
          <a:r>
            <a:rPr lang="en-US" sz="2000" dirty="0"/>
            <a:t> or Snappy</a:t>
          </a:r>
        </a:p>
      </dgm:t>
    </dgm:pt>
    <dgm:pt modelId="{9BC061A0-F445-414A-A354-4BADC6D152FE}" type="parTrans" cxnId="{0182BE97-740B-45E0-8A4C-0C8DE5A547CC}">
      <dgm:prSet/>
      <dgm:spPr/>
      <dgm:t>
        <a:bodyPr/>
        <a:lstStyle/>
        <a:p>
          <a:endParaRPr lang="en-US" sz="1050"/>
        </a:p>
      </dgm:t>
    </dgm:pt>
    <dgm:pt modelId="{125FB72E-0241-4B1D-877B-1E595988C76E}" type="sibTrans" cxnId="{0182BE97-740B-45E0-8A4C-0C8DE5A547CC}">
      <dgm:prSet/>
      <dgm:spPr/>
      <dgm:t>
        <a:bodyPr/>
        <a:lstStyle/>
        <a:p>
          <a:endParaRPr lang="en-US" sz="1050"/>
        </a:p>
      </dgm:t>
    </dgm:pt>
    <dgm:pt modelId="{22A89237-2861-4F24-B4C6-D3C6FEA40D3B}">
      <dgm:prSet custT="1"/>
      <dgm:spPr/>
      <dgm:t>
        <a:bodyPr/>
        <a:lstStyle/>
        <a:p>
          <a:r>
            <a:rPr lang="en-US" sz="2000" dirty="0"/>
            <a:t>Hadoop files: ORC or Parquet</a:t>
          </a:r>
        </a:p>
      </dgm:t>
    </dgm:pt>
    <dgm:pt modelId="{A9CDC2C5-385B-468E-BEE9-DDE8A390AC2D}" type="parTrans" cxnId="{005B47A6-1D10-4184-9661-5B3C3EE72157}">
      <dgm:prSet/>
      <dgm:spPr/>
      <dgm:t>
        <a:bodyPr/>
        <a:lstStyle/>
        <a:p>
          <a:endParaRPr lang="en-US" sz="1050"/>
        </a:p>
      </dgm:t>
    </dgm:pt>
    <dgm:pt modelId="{6B9E5FE9-52AA-4E00-80C4-7BC9E41F90C1}" type="sibTrans" cxnId="{005B47A6-1D10-4184-9661-5B3C3EE72157}">
      <dgm:prSet/>
      <dgm:spPr/>
      <dgm:t>
        <a:bodyPr/>
        <a:lstStyle/>
        <a:p>
          <a:endParaRPr lang="en-US" sz="1050"/>
        </a:p>
      </dgm:t>
    </dgm:pt>
    <dgm:pt modelId="{1552BA4F-656E-4C05-ABC9-F17B9410F8BC}" type="pres">
      <dgm:prSet presAssocID="{DEF22971-1D80-4164-A497-E26B1CE6A70F}" presName="linear" presStyleCnt="0">
        <dgm:presLayoutVars>
          <dgm:dir/>
          <dgm:resizeHandles val="exact"/>
        </dgm:presLayoutVars>
      </dgm:prSet>
      <dgm:spPr/>
    </dgm:pt>
    <dgm:pt modelId="{2754A217-92A7-43AD-A30D-7A58E2D4E5B9}" type="pres">
      <dgm:prSet presAssocID="{43E343C8-B98D-43EC-B809-4BB9D16578F6}" presName="comp" presStyleCnt="0"/>
      <dgm:spPr/>
    </dgm:pt>
    <dgm:pt modelId="{E6A1B5B1-7AFA-438C-8D38-C85F242869CC}" type="pres">
      <dgm:prSet presAssocID="{43E343C8-B98D-43EC-B809-4BB9D16578F6}" presName="box" presStyleLbl="node1" presStyleIdx="0" presStyleCnt="1"/>
      <dgm:spPr/>
    </dgm:pt>
    <dgm:pt modelId="{864224D2-4B46-45CB-A013-7F6D80157FB2}" type="pres">
      <dgm:prSet presAssocID="{43E343C8-B98D-43EC-B809-4BB9D16578F6}" presName="img" presStyleLbl="fgImgPlace1" presStyleIdx="0" presStyleCnt="1"/>
      <dgm:spPr>
        <a:blipFill rotWithShape="1">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Paper"/>
        </a:ext>
      </dgm:extLst>
    </dgm:pt>
    <dgm:pt modelId="{85E9E4F1-35EA-4D55-B7F1-C93DBD32A497}" type="pres">
      <dgm:prSet presAssocID="{43E343C8-B98D-43EC-B809-4BB9D16578F6}" presName="text" presStyleLbl="node1" presStyleIdx="0" presStyleCnt="1">
        <dgm:presLayoutVars>
          <dgm:bulletEnabled val="1"/>
        </dgm:presLayoutVars>
      </dgm:prSet>
      <dgm:spPr/>
    </dgm:pt>
  </dgm:ptLst>
  <dgm:cxnLst>
    <dgm:cxn modelId="{E73B7E37-68AE-4FF3-A3B8-640FA001A405}" type="presOf" srcId="{43E343C8-B98D-43EC-B809-4BB9D16578F6}" destId="{E6A1B5B1-7AFA-438C-8D38-C85F242869CC}" srcOrd="0" destOrd="0" presId="urn:microsoft.com/office/officeart/2005/8/layout/vList4"/>
    <dgm:cxn modelId="{FA4C9544-1AAC-4E43-9B3D-A6207488D901}" type="presOf" srcId="{22392F41-416A-4774-BC59-1854B98051BB}" destId="{E6A1B5B1-7AFA-438C-8D38-C85F242869CC}" srcOrd="0" destOrd="2" presId="urn:microsoft.com/office/officeart/2005/8/layout/vList4"/>
    <dgm:cxn modelId="{6EAEC969-5287-4F03-AE69-9F21A12EF434}" type="presOf" srcId="{22392F41-416A-4774-BC59-1854B98051BB}" destId="{85E9E4F1-35EA-4D55-B7F1-C93DBD32A497}" srcOrd="1" destOrd="2" presId="urn:microsoft.com/office/officeart/2005/8/layout/vList4"/>
    <dgm:cxn modelId="{E1BC9D57-D427-4F75-B326-5498B27ED794}" type="presOf" srcId="{43E343C8-B98D-43EC-B809-4BB9D16578F6}" destId="{85E9E4F1-35EA-4D55-B7F1-C93DBD32A497}" srcOrd="1" destOrd="0" presId="urn:microsoft.com/office/officeart/2005/8/layout/vList4"/>
    <dgm:cxn modelId="{3BE60E79-43ED-419F-9315-BC6FCF9779EB}" srcId="{43E343C8-B98D-43EC-B809-4BB9D16578F6}" destId="{6581BBC5-3E0D-4032-95B9-E480E4F5DAF3}" srcOrd="0" destOrd="0" parTransId="{D51C12BA-D51D-48D6-B99B-6492E9523266}" sibTransId="{A5BBD0F2-42B4-4F6A-B0C3-A73B57D5115A}"/>
    <dgm:cxn modelId="{0182BE97-740B-45E0-8A4C-0C8DE5A547CC}" srcId="{43E343C8-B98D-43EC-B809-4BB9D16578F6}" destId="{22392F41-416A-4774-BC59-1854B98051BB}" srcOrd="1" destOrd="0" parTransId="{9BC061A0-F445-414A-A354-4BADC6D152FE}" sibTransId="{125FB72E-0241-4B1D-877B-1E595988C76E}"/>
    <dgm:cxn modelId="{68C8DC98-9CFC-4241-9482-631107C298BC}" type="presOf" srcId="{DEF22971-1D80-4164-A497-E26B1CE6A70F}" destId="{1552BA4F-656E-4C05-ABC9-F17B9410F8BC}" srcOrd="0" destOrd="0" presId="urn:microsoft.com/office/officeart/2005/8/layout/vList4"/>
    <dgm:cxn modelId="{005B47A6-1D10-4184-9661-5B3C3EE72157}" srcId="{43E343C8-B98D-43EC-B809-4BB9D16578F6}" destId="{22A89237-2861-4F24-B4C6-D3C6FEA40D3B}" srcOrd="2" destOrd="0" parTransId="{A9CDC2C5-385B-468E-BEE9-DDE8A390AC2D}" sibTransId="{6B9E5FE9-52AA-4E00-80C4-7BC9E41F90C1}"/>
    <dgm:cxn modelId="{F3FFFDB4-A76B-42C0-B4BE-A5A16B439801}" type="presOf" srcId="{22A89237-2861-4F24-B4C6-D3C6FEA40D3B}" destId="{85E9E4F1-35EA-4D55-B7F1-C93DBD32A497}" srcOrd="1" destOrd="3" presId="urn:microsoft.com/office/officeart/2005/8/layout/vList4"/>
    <dgm:cxn modelId="{B02C67BB-A911-4A46-B6F9-999DF4E6421E}" type="presOf" srcId="{6581BBC5-3E0D-4032-95B9-E480E4F5DAF3}" destId="{85E9E4F1-35EA-4D55-B7F1-C93DBD32A497}" srcOrd="1" destOrd="1" presId="urn:microsoft.com/office/officeart/2005/8/layout/vList4"/>
    <dgm:cxn modelId="{2B5ADBD6-E356-40A6-92CB-296B3FBA5A7D}" type="presOf" srcId="{22A89237-2861-4F24-B4C6-D3C6FEA40D3B}" destId="{E6A1B5B1-7AFA-438C-8D38-C85F242869CC}" srcOrd="0" destOrd="3" presId="urn:microsoft.com/office/officeart/2005/8/layout/vList4"/>
    <dgm:cxn modelId="{2DBE34E8-35B6-4D0F-89C5-34F9BD3B8AA6}" srcId="{DEF22971-1D80-4164-A497-E26B1CE6A70F}" destId="{43E343C8-B98D-43EC-B809-4BB9D16578F6}" srcOrd="0" destOrd="0" parTransId="{77CA9727-1775-464B-99A7-9B888C97073C}" sibTransId="{6C5C623D-F71D-4A41-BDBF-5B52D82FE29E}"/>
    <dgm:cxn modelId="{06E63EFD-D22B-42B8-B331-F64AF73000D5}" type="presOf" srcId="{6581BBC5-3E0D-4032-95B9-E480E4F5DAF3}" destId="{E6A1B5B1-7AFA-438C-8D38-C85F242869CC}" srcOrd="0" destOrd="1" presId="urn:microsoft.com/office/officeart/2005/8/layout/vList4"/>
    <dgm:cxn modelId="{38CE6FAE-B624-4C6D-846F-CA4FF5828F82}" type="presParOf" srcId="{1552BA4F-656E-4C05-ABC9-F17B9410F8BC}" destId="{2754A217-92A7-43AD-A30D-7A58E2D4E5B9}" srcOrd="0" destOrd="0" presId="urn:microsoft.com/office/officeart/2005/8/layout/vList4"/>
    <dgm:cxn modelId="{C9A631AB-40B4-4900-AE87-BB3B99BAC8C6}" type="presParOf" srcId="{2754A217-92A7-43AD-A30D-7A58E2D4E5B9}" destId="{E6A1B5B1-7AFA-438C-8D38-C85F242869CC}" srcOrd="0" destOrd="0" presId="urn:microsoft.com/office/officeart/2005/8/layout/vList4"/>
    <dgm:cxn modelId="{9E8F17E9-F22C-446A-8C37-FFBF5DF49EE1}" type="presParOf" srcId="{2754A217-92A7-43AD-A30D-7A58E2D4E5B9}" destId="{864224D2-4B46-45CB-A013-7F6D80157FB2}" srcOrd="1" destOrd="0" presId="urn:microsoft.com/office/officeart/2005/8/layout/vList4"/>
    <dgm:cxn modelId="{B8F7736B-E063-46E7-9DDA-D29D97A0046C}" type="presParOf" srcId="{2754A217-92A7-43AD-A30D-7A58E2D4E5B9}" destId="{85E9E4F1-35EA-4D55-B7F1-C93DBD32A497}"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EF22971-1D80-4164-A497-E26B1CE6A70F}" type="doc">
      <dgm:prSet loTypeId="urn:microsoft.com/office/officeart/2005/8/layout/vList4" loCatId="list" qsTypeId="urn:microsoft.com/office/officeart/2005/8/quickstyle/simple2" qsCatId="simple" csTypeId="urn:microsoft.com/office/officeart/2005/8/colors/accent1_2" csCatId="accent1" phldr="1"/>
      <dgm:spPr/>
      <dgm:t>
        <a:bodyPr/>
        <a:lstStyle/>
        <a:p>
          <a:endParaRPr lang="en-US"/>
        </a:p>
      </dgm:t>
    </dgm:pt>
    <dgm:pt modelId="{CFF5E844-E2B9-4195-A0EC-8C064A483F78}">
      <dgm:prSet custT="1"/>
      <dgm:spPr/>
      <dgm:t>
        <a:bodyPr/>
        <a:lstStyle/>
        <a:p>
          <a:r>
            <a:rPr lang="en-US" sz="3600" dirty="0"/>
            <a:t>Land into Blob Storage or Data Lake</a:t>
          </a:r>
        </a:p>
      </dgm:t>
    </dgm:pt>
    <dgm:pt modelId="{87D71632-846D-4EE4-934E-D5FF1853542B}" type="sibTrans" cxnId="{FEFC85AF-51C8-49E7-A174-5D8F00D58EAD}">
      <dgm:prSet/>
      <dgm:spPr/>
      <dgm:t>
        <a:bodyPr/>
        <a:lstStyle/>
        <a:p>
          <a:endParaRPr lang="en-US" sz="1100"/>
        </a:p>
      </dgm:t>
    </dgm:pt>
    <dgm:pt modelId="{CD53BE8A-8246-444F-9FFC-46F17845CD7C}" type="parTrans" cxnId="{FEFC85AF-51C8-49E7-A174-5D8F00D58EAD}">
      <dgm:prSet/>
      <dgm:spPr/>
      <dgm:t>
        <a:bodyPr/>
        <a:lstStyle/>
        <a:p>
          <a:endParaRPr lang="en-US" sz="1100"/>
        </a:p>
      </dgm:t>
    </dgm:pt>
    <dgm:pt modelId="{32FC2719-0963-4018-B6D9-D7C8AA327A1F}">
      <dgm:prSet custT="1"/>
      <dgm:spPr/>
      <dgm:t>
        <a:bodyPr/>
        <a:lstStyle/>
        <a:p>
          <a:r>
            <a:rPr lang="en-US" sz="2000" dirty="0"/>
            <a:t>Azure Blob Storage</a:t>
          </a:r>
        </a:p>
      </dgm:t>
    </dgm:pt>
    <dgm:pt modelId="{660E4010-C53F-46DD-B14C-7DF782E7D4C2}" type="parTrans" cxnId="{4A37C985-86B7-4064-966B-BA8A21B7341E}">
      <dgm:prSet/>
      <dgm:spPr/>
      <dgm:t>
        <a:bodyPr/>
        <a:lstStyle/>
        <a:p>
          <a:endParaRPr lang="en-US" sz="1100"/>
        </a:p>
      </dgm:t>
    </dgm:pt>
    <dgm:pt modelId="{59537DBA-EBF2-434B-B0D4-0D7C14C7DFB3}" type="sibTrans" cxnId="{4A37C985-86B7-4064-966B-BA8A21B7341E}">
      <dgm:prSet/>
      <dgm:spPr/>
      <dgm:t>
        <a:bodyPr/>
        <a:lstStyle/>
        <a:p>
          <a:endParaRPr lang="en-US" sz="1100"/>
        </a:p>
      </dgm:t>
    </dgm:pt>
    <dgm:pt modelId="{F7DE857B-7BE6-4041-8929-D5541BD60B20}">
      <dgm:prSet custT="1"/>
      <dgm:spPr/>
      <dgm:t>
        <a:bodyPr/>
        <a:lstStyle/>
        <a:p>
          <a:r>
            <a:rPr lang="en-US" sz="2000" dirty="0"/>
            <a:t>Azure Data Lake Store Gen2</a:t>
          </a:r>
        </a:p>
      </dgm:t>
    </dgm:pt>
    <dgm:pt modelId="{996543C3-FF0D-40F8-9459-E86AFFF72A7D}" type="parTrans" cxnId="{39C7E0C3-48A6-4161-A089-4C7524317E5E}">
      <dgm:prSet/>
      <dgm:spPr/>
      <dgm:t>
        <a:bodyPr/>
        <a:lstStyle/>
        <a:p>
          <a:endParaRPr lang="en-US" sz="1100"/>
        </a:p>
      </dgm:t>
    </dgm:pt>
    <dgm:pt modelId="{BD31CD1E-6652-41F6-9DD1-AA56FDAB3B6A}" type="sibTrans" cxnId="{39C7E0C3-48A6-4161-A089-4C7524317E5E}">
      <dgm:prSet/>
      <dgm:spPr/>
      <dgm:t>
        <a:bodyPr/>
        <a:lstStyle/>
        <a:p>
          <a:endParaRPr lang="en-US" sz="1100"/>
        </a:p>
      </dgm:t>
    </dgm:pt>
    <dgm:pt modelId="{3232B658-CEB5-4D3C-813C-3F573B650704}" type="pres">
      <dgm:prSet presAssocID="{DEF22971-1D80-4164-A497-E26B1CE6A70F}" presName="linear" presStyleCnt="0">
        <dgm:presLayoutVars>
          <dgm:dir/>
          <dgm:resizeHandles val="exact"/>
        </dgm:presLayoutVars>
      </dgm:prSet>
      <dgm:spPr/>
    </dgm:pt>
    <dgm:pt modelId="{7DE433C8-B4EA-4F2B-826D-685ECB43C201}" type="pres">
      <dgm:prSet presAssocID="{CFF5E844-E2B9-4195-A0EC-8C064A483F78}" presName="comp" presStyleCnt="0"/>
      <dgm:spPr/>
    </dgm:pt>
    <dgm:pt modelId="{8D4DF2C0-AE9A-4489-8216-C11C43107D7A}" type="pres">
      <dgm:prSet presAssocID="{CFF5E844-E2B9-4195-A0EC-8C064A483F78}" presName="box" presStyleLbl="node1" presStyleIdx="0" presStyleCnt="1"/>
      <dgm:spPr/>
    </dgm:pt>
    <dgm:pt modelId="{9A9C67D2-EDDF-43A2-8BFD-FA7D02874E6B}" type="pres">
      <dgm:prSet presAssocID="{CFF5E844-E2B9-4195-A0EC-8C064A483F78}" presName="img"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Database"/>
        </a:ext>
      </dgm:extLst>
    </dgm:pt>
    <dgm:pt modelId="{5680F26C-1E62-4D26-871D-EB9B439D0C53}" type="pres">
      <dgm:prSet presAssocID="{CFF5E844-E2B9-4195-A0EC-8C064A483F78}" presName="text" presStyleLbl="node1" presStyleIdx="0" presStyleCnt="1">
        <dgm:presLayoutVars>
          <dgm:bulletEnabled val="1"/>
        </dgm:presLayoutVars>
      </dgm:prSet>
      <dgm:spPr/>
    </dgm:pt>
  </dgm:ptLst>
  <dgm:cxnLst>
    <dgm:cxn modelId="{E7C8FA73-7CE9-434D-8F59-00AD24ECEEAA}" type="presOf" srcId="{32FC2719-0963-4018-B6D9-D7C8AA327A1F}" destId="{5680F26C-1E62-4D26-871D-EB9B439D0C53}" srcOrd="1" destOrd="1" presId="urn:microsoft.com/office/officeart/2005/8/layout/vList4"/>
    <dgm:cxn modelId="{4A37C985-86B7-4064-966B-BA8A21B7341E}" srcId="{CFF5E844-E2B9-4195-A0EC-8C064A483F78}" destId="{32FC2719-0963-4018-B6D9-D7C8AA327A1F}" srcOrd="0" destOrd="0" parTransId="{660E4010-C53F-46DD-B14C-7DF782E7D4C2}" sibTransId="{59537DBA-EBF2-434B-B0D4-0D7C14C7DFB3}"/>
    <dgm:cxn modelId="{C20AC597-98F5-439A-B151-6233DC36C7A3}" type="presOf" srcId="{DEF22971-1D80-4164-A497-E26B1CE6A70F}" destId="{3232B658-CEB5-4D3C-813C-3F573B650704}" srcOrd="0" destOrd="0" presId="urn:microsoft.com/office/officeart/2005/8/layout/vList4"/>
    <dgm:cxn modelId="{A0AD55AD-F5FD-48A1-A1D8-CC863ACD4641}" type="presOf" srcId="{CFF5E844-E2B9-4195-A0EC-8C064A483F78}" destId="{8D4DF2C0-AE9A-4489-8216-C11C43107D7A}" srcOrd="0" destOrd="0" presId="urn:microsoft.com/office/officeart/2005/8/layout/vList4"/>
    <dgm:cxn modelId="{FEFC85AF-51C8-49E7-A174-5D8F00D58EAD}" srcId="{DEF22971-1D80-4164-A497-E26B1CE6A70F}" destId="{CFF5E844-E2B9-4195-A0EC-8C064A483F78}" srcOrd="0" destOrd="0" parTransId="{CD53BE8A-8246-444F-9FFC-46F17845CD7C}" sibTransId="{87D71632-846D-4EE4-934E-D5FF1853542B}"/>
    <dgm:cxn modelId="{85D7E2B1-B899-44A0-9508-E8B79C2887EC}" type="presOf" srcId="{CFF5E844-E2B9-4195-A0EC-8C064A483F78}" destId="{5680F26C-1E62-4D26-871D-EB9B439D0C53}" srcOrd="1" destOrd="0" presId="urn:microsoft.com/office/officeart/2005/8/layout/vList4"/>
    <dgm:cxn modelId="{39C7E0C3-48A6-4161-A089-4C7524317E5E}" srcId="{CFF5E844-E2B9-4195-A0EC-8C064A483F78}" destId="{F7DE857B-7BE6-4041-8929-D5541BD60B20}" srcOrd="1" destOrd="0" parTransId="{996543C3-FF0D-40F8-9459-E86AFFF72A7D}" sibTransId="{BD31CD1E-6652-41F6-9DD1-AA56FDAB3B6A}"/>
    <dgm:cxn modelId="{3074E9CE-DD60-42F5-9546-1C23F573CC5E}" type="presOf" srcId="{F7DE857B-7BE6-4041-8929-D5541BD60B20}" destId="{8D4DF2C0-AE9A-4489-8216-C11C43107D7A}" srcOrd="0" destOrd="2" presId="urn:microsoft.com/office/officeart/2005/8/layout/vList4"/>
    <dgm:cxn modelId="{388C05E8-8FEC-4796-AF05-E8A0C52D22B5}" type="presOf" srcId="{32FC2719-0963-4018-B6D9-D7C8AA327A1F}" destId="{8D4DF2C0-AE9A-4489-8216-C11C43107D7A}" srcOrd="0" destOrd="1" presId="urn:microsoft.com/office/officeart/2005/8/layout/vList4"/>
    <dgm:cxn modelId="{1AE756F4-B023-4056-B99D-F2694EE13E6B}" type="presOf" srcId="{F7DE857B-7BE6-4041-8929-D5541BD60B20}" destId="{5680F26C-1E62-4D26-871D-EB9B439D0C53}" srcOrd="1" destOrd="2" presId="urn:microsoft.com/office/officeart/2005/8/layout/vList4"/>
    <dgm:cxn modelId="{525C3193-CE1E-45F2-B6BA-215E09663AE7}" type="presParOf" srcId="{3232B658-CEB5-4D3C-813C-3F573B650704}" destId="{7DE433C8-B4EA-4F2B-826D-685ECB43C201}" srcOrd="0" destOrd="0" presId="urn:microsoft.com/office/officeart/2005/8/layout/vList4"/>
    <dgm:cxn modelId="{FF7DBBCB-07A0-4E44-9AF0-32D924ACD292}" type="presParOf" srcId="{7DE433C8-B4EA-4F2B-826D-685ECB43C201}" destId="{8D4DF2C0-AE9A-4489-8216-C11C43107D7A}" srcOrd="0" destOrd="0" presId="urn:microsoft.com/office/officeart/2005/8/layout/vList4"/>
    <dgm:cxn modelId="{2495C8B5-113E-431F-B4A2-8CB90DBF6331}" type="presParOf" srcId="{7DE433C8-B4EA-4F2B-826D-685ECB43C201}" destId="{9A9C67D2-EDDF-43A2-8BFD-FA7D02874E6B}" srcOrd="1" destOrd="0" presId="urn:microsoft.com/office/officeart/2005/8/layout/vList4"/>
    <dgm:cxn modelId="{6AD6A99A-FD70-4FCC-878F-24FE146375AC}" type="presParOf" srcId="{7DE433C8-B4EA-4F2B-826D-685ECB43C201}" destId="{5680F26C-1E62-4D26-871D-EB9B439D0C53}"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EF22971-1D80-4164-A497-E26B1CE6A70F}"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F8972BDB-00DF-469C-9C43-CBF6F1C545B5}">
      <dgm:prSet custT="1"/>
      <dgm:spPr>
        <a:effectLst>
          <a:innerShdw blurRad="63500" dist="50800" dir="18900000">
            <a:prstClr val="black">
              <a:alpha val="50000"/>
            </a:prstClr>
          </a:innerShdw>
        </a:effectLst>
        <a:scene3d>
          <a:camera prst="orthographicFront"/>
          <a:lightRig rig="threePt" dir="t"/>
        </a:scene3d>
        <a:sp3d>
          <a:bevelT prst="angle"/>
        </a:sp3d>
      </dgm:spPr>
      <dgm:t>
        <a:bodyPr/>
        <a:lstStyle/>
        <a:p>
          <a:r>
            <a:rPr lang="en-US" sz="3600" dirty="0"/>
            <a:t>Prepare for Loading</a:t>
          </a:r>
        </a:p>
      </dgm:t>
    </dgm:pt>
    <dgm:pt modelId="{004E9277-1A53-4394-AFD1-EBFDF1CBE275}" type="sibTrans" cxnId="{4DD318A7-08C0-4CB4-99E9-13AF2E312410}">
      <dgm:prSet/>
      <dgm:spPr/>
      <dgm:t>
        <a:bodyPr/>
        <a:lstStyle/>
        <a:p>
          <a:endParaRPr lang="en-US" sz="1000"/>
        </a:p>
      </dgm:t>
    </dgm:pt>
    <dgm:pt modelId="{B0B63240-0F93-4244-8511-DD5E4087022D}" type="parTrans" cxnId="{4DD318A7-08C0-4CB4-99E9-13AF2E312410}">
      <dgm:prSet/>
      <dgm:spPr/>
      <dgm:t>
        <a:bodyPr/>
        <a:lstStyle/>
        <a:p>
          <a:endParaRPr lang="en-US" sz="1000"/>
        </a:p>
      </dgm:t>
    </dgm:pt>
    <dgm:pt modelId="{92E7EBDB-213C-447F-932F-0C3507E0D38A}">
      <dgm:prSet custT="1"/>
      <dgm:spPr>
        <a:effectLst>
          <a:innerShdw blurRad="63500" dist="50800" dir="18900000">
            <a:prstClr val="black">
              <a:alpha val="50000"/>
            </a:prstClr>
          </a:innerShdw>
        </a:effectLst>
        <a:scene3d>
          <a:camera prst="orthographicFront"/>
          <a:lightRig rig="threePt" dir="t"/>
        </a:scene3d>
        <a:sp3d>
          <a:bevelT prst="angle"/>
        </a:sp3d>
      </dgm:spPr>
      <dgm:t>
        <a:bodyPr/>
        <a:lstStyle/>
        <a:p>
          <a:r>
            <a:rPr lang="en-US" sz="2000" dirty="0"/>
            <a:t>Clean</a:t>
          </a:r>
        </a:p>
      </dgm:t>
    </dgm:pt>
    <dgm:pt modelId="{FB56E92B-FB6F-4C40-83B8-8824FC4D1E3F}" type="parTrans" cxnId="{288D1359-5FE5-4462-AABC-7347DAAAE308}">
      <dgm:prSet/>
      <dgm:spPr/>
      <dgm:t>
        <a:bodyPr/>
        <a:lstStyle/>
        <a:p>
          <a:endParaRPr lang="en-US" sz="1000"/>
        </a:p>
      </dgm:t>
    </dgm:pt>
    <dgm:pt modelId="{C5222E0B-B979-4DA6-BA77-FA8C0480BBAF}" type="sibTrans" cxnId="{288D1359-5FE5-4462-AABC-7347DAAAE308}">
      <dgm:prSet/>
      <dgm:spPr/>
      <dgm:t>
        <a:bodyPr/>
        <a:lstStyle/>
        <a:p>
          <a:endParaRPr lang="en-US" sz="1000"/>
        </a:p>
      </dgm:t>
    </dgm:pt>
    <dgm:pt modelId="{A5EE3AAC-2866-45B3-9B82-B12635D5ED4C}">
      <dgm:prSet custT="1"/>
      <dgm:spPr>
        <a:effectLst>
          <a:innerShdw blurRad="63500" dist="50800" dir="18900000">
            <a:prstClr val="black">
              <a:alpha val="50000"/>
            </a:prstClr>
          </a:innerShdw>
        </a:effectLst>
        <a:scene3d>
          <a:camera prst="orthographicFront"/>
          <a:lightRig rig="threePt" dir="t"/>
        </a:scene3d>
        <a:sp3d>
          <a:bevelT prst="angle"/>
        </a:sp3d>
      </dgm:spPr>
      <dgm:t>
        <a:bodyPr/>
        <a:lstStyle/>
        <a:p>
          <a:r>
            <a:rPr lang="en-US" sz="2000" dirty="0"/>
            <a:t>Prepare</a:t>
          </a:r>
        </a:p>
      </dgm:t>
    </dgm:pt>
    <dgm:pt modelId="{17BA13C5-8C22-448C-999C-F4FBB80290FB}" type="parTrans" cxnId="{C3A4C1AD-042E-4146-84F3-7B6830104781}">
      <dgm:prSet/>
      <dgm:spPr/>
      <dgm:t>
        <a:bodyPr/>
        <a:lstStyle/>
        <a:p>
          <a:endParaRPr lang="en-US" sz="1000"/>
        </a:p>
      </dgm:t>
    </dgm:pt>
    <dgm:pt modelId="{BD51C4E3-28B6-4452-BD8E-CA56D5FF5B8E}" type="sibTrans" cxnId="{C3A4C1AD-042E-4146-84F3-7B6830104781}">
      <dgm:prSet/>
      <dgm:spPr/>
      <dgm:t>
        <a:bodyPr/>
        <a:lstStyle/>
        <a:p>
          <a:endParaRPr lang="en-US" sz="1000"/>
        </a:p>
      </dgm:t>
    </dgm:pt>
    <dgm:pt modelId="{6C5B1493-B45C-4F6D-B7A3-5E5C70B1263D}">
      <dgm:prSet custT="1"/>
      <dgm:spPr>
        <a:effectLst>
          <a:innerShdw blurRad="63500" dist="50800" dir="18900000">
            <a:prstClr val="black">
              <a:alpha val="50000"/>
            </a:prstClr>
          </a:innerShdw>
        </a:effectLst>
        <a:scene3d>
          <a:camera prst="orthographicFront"/>
          <a:lightRig rig="threePt" dir="t"/>
        </a:scene3d>
        <a:sp3d>
          <a:bevelT prst="angle"/>
        </a:sp3d>
      </dgm:spPr>
      <dgm:t>
        <a:bodyPr/>
        <a:lstStyle/>
        <a:p>
          <a:r>
            <a:rPr lang="en-US" sz="2000" dirty="0"/>
            <a:t>Format text files</a:t>
          </a:r>
        </a:p>
      </dgm:t>
    </dgm:pt>
    <dgm:pt modelId="{47706408-3C77-40C8-AA1A-68C5C5E9EB84}" type="parTrans" cxnId="{0F030BC3-6035-4DB9-B299-D157B15E4292}">
      <dgm:prSet/>
      <dgm:spPr/>
      <dgm:t>
        <a:bodyPr/>
        <a:lstStyle/>
        <a:p>
          <a:endParaRPr lang="en-US" sz="1000"/>
        </a:p>
      </dgm:t>
    </dgm:pt>
    <dgm:pt modelId="{EFAF4836-A844-4710-B119-9EEF79ACDD2F}" type="sibTrans" cxnId="{0F030BC3-6035-4DB9-B299-D157B15E4292}">
      <dgm:prSet/>
      <dgm:spPr/>
      <dgm:t>
        <a:bodyPr/>
        <a:lstStyle/>
        <a:p>
          <a:endParaRPr lang="en-US" sz="1000"/>
        </a:p>
      </dgm:t>
    </dgm:pt>
    <dgm:pt modelId="{58CD6F83-98B2-4249-BF37-96CF7E26946F}">
      <dgm:prSet custT="1"/>
      <dgm:spPr>
        <a:effectLst>
          <a:innerShdw blurRad="63500" dist="50800" dir="18900000">
            <a:prstClr val="black">
              <a:alpha val="50000"/>
            </a:prstClr>
          </a:innerShdw>
        </a:effectLst>
        <a:scene3d>
          <a:camera prst="orthographicFront"/>
          <a:lightRig rig="threePt" dir="t"/>
        </a:scene3d>
        <a:sp3d>
          <a:bevelT prst="angle"/>
        </a:sp3d>
      </dgm:spPr>
      <dgm:t>
        <a:bodyPr/>
        <a:lstStyle/>
        <a:p>
          <a:r>
            <a:rPr lang="en-US" sz="2000" dirty="0"/>
            <a:t>Define the tables</a:t>
          </a:r>
        </a:p>
      </dgm:t>
    </dgm:pt>
    <dgm:pt modelId="{2502A30D-4AAE-4E9F-B95B-9AB948F98E7B}" type="parTrans" cxnId="{F5E74084-B75E-43B1-99BB-874E9897663B}">
      <dgm:prSet/>
      <dgm:spPr/>
      <dgm:t>
        <a:bodyPr/>
        <a:lstStyle/>
        <a:p>
          <a:endParaRPr lang="en-US"/>
        </a:p>
      </dgm:t>
    </dgm:pt>
    <dgm:pt modelId="{FAA3C172-2213-428D-8A72-20EDFC4B2808}" type="sibTrans" cxnId="{F5E74084-B75E-43B1-99BB-874E9897663B}">
      <dgm:prSet/>
      <dgm:spPr/>
      <dgm:t>
        <a:bodyPr/>
        <a:lstStyle/>
        <a:p>
          <a:endParaRPr lang="en-US"/>
        </a:p>
      </dgm:t>
    </dgm:pt>
    <dgm:pt modelId="{B26AEC2F-6D9E-443E-9E81-AAED811111FB}" type="pres">
      <dgm:prSet presAssocID="{DEF22971-1D80-4164-A497-E26B1CE6A70F}" presName="linear" presStyleCnt="0">
        <dgm:presLayoutVars>
          <dgm:dir/>
          <dgm:resizeHandles val="exact"/>
        </dgm:presLayoutVars>
      </dgm:prSet>
      <dgm:spPr/>
    </dgm:pt>
    <dgm:pt modelId="{A7F358D8-8742-44B0-83A6-1DD8D0DBEA56}" type="pres">
      <dgm:prSet presAssocID="{F8972BDB-00DF-469C-9C43-CBF6F1C545B5}" presName="comp" presStyleCnt="0"/>
      <dgm:spPr/>
    </dgm:pt>
    <dgm:pt modelId="{A74564B4-CC5D-4629-A2C7-2114CC262427}" type="pres">
      <dgm:prSet presAssocID="{F8972BDB-00DF-469C-9C43-CBF6F1C545B5}" presName="box" presStyleLbl="node1" presStyleIdx="0" presStyleCnt="1"/>
      <dgm:spPr/>
    </dgm:pt>
    <dgm:pt modelId="{9DD81670-8D6C-4323-B9D5-C9E43F9C51ED}" type="pres">
      <dgm:prSet presAssocID="{F8972BDB-00DF-469C-9C43-CBF6F1C545B5}" presName="img"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Check List"/>
        </a:ext>
      </dgm:extLst>
    </dgm:pt>
    <dgm:pt modelId="{B7135B8D-BA18-4B24-9BFF-5226CAA9EEE2}" type="pres">
      <dgm:prSet presAssocID="{F8972BDB-00DF-469C-9C43-CBF6F1C545B5}" presName="text" presStyleLbl="node1" presStyleIdx="0" presStyleCnt="1">
        <dgm:presLayoutVars>
          <dgm:bulletEnabled val="1"/>
        </dgm:presLayoutVars>
      </dgm:prSet>
      <dgm:spPr/>
    </dgm:pt>
  </dgm:ptLst>
  <dgm:cxnLst>
    <dgm:cxn modelId="{CB9B6905-53A5-4480-870A-E8886A5DBC56}" type="presOf" srcId="{92E7EBDB-213C-447F-932F-0C3507E0D38A}" destId="{B7135B8D-BA18-4B24-9BFF-5226CAA9EEE2}" srcOrd="1" destOrd="1" presId="urn:microsoft.com/office/officeart/2005/8/layout/vList4"/>
    <dgm:cxn modelId="{21A2A50E-EEB9-4BD7-8D2D-66D77F8BC313}" type="presOf" srcId="{6C5B1493-B45C-4F6D-B7A3-5E5C70B1263D}" destId="{B7135B8D-BA18-4B24-9BFF-5226CAA9EEE2}" srcOrd="1" destOrd="4" presId="urn:microsoft.com/office/officeart/2005/8/layout/vList4"/>
    <dgm:cxn modelId="{437BC910-E73E-495F-AB82-8D73F9295723}" type="presOf" srcId="{92E7EBDB-213C-447F-932F-0C3507E0D38A}" destId="{A74564B4-CC5D-4629-A2C7-2114CC262427}" srcOrd="0" destOrd="1" presId="urn:microsoft.com/office/officeart/2005/8/layout/vList4"/>
    <dgm:cxn modelId="{978B0929-C960-4B16-A85F-15AE5D868A49}" type="presOf" srcId="{A5EE3AAC-2866-45B3-9B82-B12635D5ED4C}" destId="{A74564B4-CC5D-4629-A2C7-2114CC262427}" srcOrd="0" destOrd="2" presId="urn:microsoft.com/office/officeart/2005/8/layout/vList4"/>
    <dgm:cxn modelId="{52C46C47-41C9-4190-AE6D-F9A4A38CE143}" type="presOf" srcId="{DEF22971-1D80-4164-A497-E26B1CE6A70F}" destId="{B26AEC2F-6D9E-443E-9E81-AAED811111FB}" srcOrd="0" destOrd="0" presId="urn:microsoft.com/office/officeart/2005/8/layout/vList4"/>
    <dgm:cxn modelId="{AEF7E36C-316E-4862-AD5D-17542AAE4BBE}" type="presOf" srcId="{58CD6F83-98B2-4249-BF37-96CF7E26946F}" destId="{B7135B8D-BA18-4B24-9BFF-5226CAA9EEE2}" srcOrd="1" destOrd="3" presId="urn:microsoft.com/office/officeart/2005/8/layout/vList4"/>
    <dgm:cxn modelId="{F4466557-39BD-4A34-9489-81ADBEDF1CBE}" type="presOf" srcId="{6C5B1493-B45C-4F6D-B7A3-5E5C70B1263D}" destId="{A74564B4-CC5D-4629-A2C7-2114CC262427}" srcOrd="0" destOrd="4" presId="urn:microsoft.com/office/officeart/2005/8/layout/vList4"/>
    <dgm:cxn modelId="{288D1359-5FE5-4462-AABC-7347DAAAE308}" srcId="{F8972BDB-00DF-469C-9C43-CBF6F1C545B5}" destId="{92E7EBDB-213C-447F-932F-0C3507E0D38A}" srcOrd="0" destOrd="0" parTransId="{FB56E92B-FB6F-4C40-83B8-8824FC4D1E3F}" sibTransId="{C5222E0B-B979-4DA6-BA77-FA8C0480BBAF}"/>
    <dgm:cxn modelId="{F5E74084-B75E-43B1-99BB-874E9897663B}" srcId="{F8972BDB-00DF-469C-9C43-CBF6F1C545B5}" destId="{58CD6F83-98B2-4249-BF37-96CF7E26946F}" srcOrd="2" destOrd="0" parTransId="{2502A30D-4AAE-4E9F-B95B-9AB948F98E7B}" sibTransId="{FAA3C172-2213-428D-8A72-20EDFC4B2808}"/>
    <dgm:cxn modelId="{C881DB9F-AA90-44CE-9938-BF98BF5E49DD}" type="presOf" srcId="{A5EE3AAC-2866-45B3-9B82-B12635D5ED4C}" destId="{B7135B8D-BA18-4B24-9BFF-5226CAA9EEE2}" srcOrd="1" destOrd="2" presId="urn:microsoft.com/office/officeart/2005/8/layout/vList4"/>
    <dgm:cxn modelId="{4DD318A7-08C0-4CB4-99E9-13AF2E312410}" srcId="{DEF22971-1D80-4164-A497-E26B1CE6A70F}" destId="{F8972BDB-00DF-469C-9C43-CBF6F1C545B5}" srcOrd="0" destOrd="0" parTransId="{B0B63240-0F93-4244-8511-DD5E4087022D}" sibTransId="{004E9277-1A53-4394-AFD1-EBFDF1CBE275}"/>
    <dgm:cxn modelId="{C3A4C1AD-042E-4146-84F3-7B6830104781}" srcId="{F8972BDB-00DF-469C-9C43-CBF6F1C545B5}" destId="{A5EE3AAC-2866-45B3-9B82-B12635D5ED4C}" srcOrd="1" destOrd="0" parTransId="{17BA13C5-8C22-448C-999C-F4FBB80290FB}" sibTransId="{BD51C4E3-28B6-4452-BD8E-CA56D5FF5B8E}"/>
    <dgm:cxn modelId="{0A3B85BD-B16B-4310-B67C-F8349D26FC42}" type="presOf" srcId="{F8972BDB-00DF-469C-9C43-CBF6F1C545B5}" destId="{B7135B8D-BA18-4B24-9BFF-5226CAA9EEE2}" srcOrd="1" destOrd="0" presId="urn:microsoft.com/office/officeart/2005/8/layout/vList4"/>
    <dgm:cxn modelId="{0F030BC3-6035-4DB9-B299-D157B15E4292}" srcId="{F8972BDB-00DF-469C-9C43-CBF6F1C545B5}" destId="{6C5B1493-B45C-4F6D-B7A3-5E5C70B1263D}" srcOrd="3" destOrd="0" parTransId="{47706408-3C77-40C8-AA1A-68C5C5E9EB84}" sibTransId="{EFAF4836-A844-4710-B119-9EEF79ACDD2F}"/>
    <dgm:cxn modelId="{0FA4F2DE-6518-4D9C-92A0-26E6037861DD}" type="presOf" srcId="{F8972BDB-00DF-469C-9C43-CBF6F1C545B5}" destId="{A74564B4-CC5D-4629-A2C7-2114CC262427}" srcOrd="0" destOrd="0" presId="urn:microsoft.com/office/officeart/2005/8/layout/vList4"/>
    <dgm:cxn modelId="{1C28DEE4-AE22-407A-A35E-3BF98B33BC7F}" type="presOf" srcId="{58CD6F83-98B2-4249-BF37-96CF7E26946F}" destId="{A74564B4-CC5D-4629-A2C7-2114CC262427}" srcOrd="0" destOrd="3" presId="urn:microsoft.com/office/officeart/2005/8/layout/vList4"/>
    <dgm:cxn modelId="{6D5F91D5-78B9-47A7-9BF8-DD4F5D81FB0A}" type="presParOf" srcId="{B26AEC2F-6D9E-443E-9E81-AAED811111FB}" destId="{A7F358D8-8742-44B0-83A6-1DD8D0DBEA56}" srcOrd="0" destOrd="0" presId="urn:microsoft.com/office/officeart/2005/8/layout/vList4"/>
    <dgm:cxn modelId="{ACCBFB0C-4AED-4BB9-8442-6EFAB89B3AAD}" type="presParOf" srcId="{A7F358D8-8742-44B0-83A6-1DD8D0DBEA56}" destId="{A74564B4-CC5D-4629-A2C7-2114CC262427}" srcOrd="0" destOrd="0" presId="urn:microsoft.com/office/officeart/2005/8/layout/vList4"/>
    <dgm:cxn modelId="{48F94FA5-7C30-41E5-933A-393D7AB7E4BC}" type="presParOf" srcId="{A7F358D8-8742-44B0-83A6-1DD8D0DBEA56}" destId="{9DD81670-8D6C-4323-B9D5-C9E43F9C51ED}" srcOrd="1" destOrd="0" presId="urn:microsoft.com/office/officeart/2005/8/layout/vList4"/>
    <dgm:cxn modelId="{CC3BFD8E-19ED-4A74-BE04-17A04A9278E9}" type="presParOf" srcId="{A7F358D8-8742-44B0-83A6-1DD8D0DBEA56}" destId="{B7135B8D-BA18-4B24-9BFF-5226CAA9EEE2}"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EF22971-1D80-4164-A497-E26B1CE6A70F}"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E2D18663-04D2-4F95-A736-D546E61D6345}">
      <dgm:prSet custT="1"/>
      <dgm:spPr>
        <a:scene3d>
          <a:camera prst="orthographicFront"/>
          <a:lightRig rig="threePt" dir="t"/>
        </a:scene3d>
        <a:sp3d>
          <a:bevelT prst="angle"/>
        </a:sp3d>
      </dgm:spPr>
      <dgm:t>
        <a:bodyPr/>
        <a:lstStyle/>
        <a:p>
          <a:r>
            <a:rPr lang="en-US" sz="3600" dirty="0"/>
            <a:t>Load into Staging</a:t>
          </a:r>
        </a:p>
      </dgm:t>
    </dgm:pt>
    <dgm:pt modelId="{1A6D344F-937E-474D-BCAB-AF7768DDAB8D}" type="sibTrans" cxnId="{87A7E205-634A-4CDD-9DF5-2C23381F3DAF}">
      <dgm:prSet/>
      <dgm:spPr/>
      <dgm:t>
        <a:bodyPr/>
        <a:lstStyle/>
        <a:p>
          <a:endParaRPr lang="en-US" sz="1050"/>
        </a:p>
      </dgm:t>
    </dgm:pt>
    <dgm:pt modelId="{6E160B8D-42B3-480C-8F08-AE724A2E2CCE}" type="parTrans" cxnId="{87A7E205-634A-4CDD-9DF5-2C23381F3DAF}">
      <dgm:prSet/>
      <dgm:spPr/>
      <dgm:t>
        <a:bodyPr/>
        <a:lstStyle/>
        <a:p>
          <a:endParaRPr lang="en-US" sz="1050"/>
        </a:p>
      </dgm:t>
    </dgm:pt>
    <dgm:pt modelId="{EAFD9828-1C2F-416E-8EE2-0B987C2DAB09}">
      <dgm:prSet custT="1"/>
      <dgm:spPr>
        <a:scene3d>
          <a:camera prst="orthographicFront"/>
          <a:lightRig rig="threePt" dir="t"/>
        </a:scene3d>
        <a:sp3d>
          <a:bevelT prst="angle"/>
        </a:sp3d>
      </dgm:spPr>
      <dgm:t>
        <a:bodyPr/>
        <a:lstStyle/>
        <a:p>
          <a:r>
            <a:rPr lang="en-US" sz="2000" dirty="0"/>
            <a:t>PolyBase – T-SQL/SSIS/Databricks</a:t>
          </a:r>
        </a:p>
      </dgm:t>
    </dgm:pt>
    <dgm:pt modelId="{5E7EC3E6-BB8F-42DD-9416-562222214DED}" type="sibTrans" cxnId="{7E10F4FD-A279-49F4-B146-DC66E7D7254E}">
      <dgm:prSet/>
      <dgm:spPr/>
      <dgm:t>
        <a:bodyPr/>
        <a:lstStyle/>
        <a:p>
          <a:endParaRPr lang="en-US" sz="1050"/>
        </a:p>
      </dgm:t>
    </dgm:pt>
    <dgm:pt modelId="{C5F4ADDE-3803-40EB-B9BE-7A6E20191E1F}" type="parTrans" cxnId="{7E10F4FD-A279-49F4-B146-DC66E7D7254E}">
      <dgm:prSet/>
      <dgm:spPr/>
      <dgm:t>
        <a:bodyPr/>
        <a:lstStyle/>
        <a:p>
          <a:endParaRPr lang="en-US" sz="1050"/>
        </a:p>
      </dgm:t>
    </dgm:pt>
    <dgm:pt modelId="{04F8B5EE-02B4-4764-9B6A-83155235E2CD}">
      <dgm:prSet custT="1"/>
      <dgm:spPr>
        <a:scene3d>
          <a:camera prst="orthographicFront"/>
          <a:lightRig rig="threePt" dir="t"/>
        </a:scene3d>
        <a:sp3d>
          <a:bevelT prst="angle"/>
        </a:sp3d>
      </dgm:spPr>
      <dgm:t>
        <a:bodyPr/>
        <a:lstStyle/>
        <a:p>
          <a:r>
            <a:rPr lang="en-US" sz="2000" dirty="0"/>
            <a:t>COPY statement (preview)</a:t>
          </a:r>
        </a:p>
      </dgm:t>
    </dgm:pt>
    <dgm:pt modelId="{0DE31A11-43C8-4758-9B1F-2526D73D9952}" type="sibTrans" cxnId="{4A439FA9-E722-4179-8C3D-B2E04A46AF77}">
      <dgm:prSet/>
      <dgm:spPr/>
      <dgm:t>
        <a:bodyPr/>
        <a:lstStyle/>
        <a:p>
          <a:endParaRPr lang="en-US" sz="1050"/>
        </a:p>
      </dgm:t>
    </dgm:pt>
    <dgm:pt modelId="{4089020B-894C-41A4-978A-46565C8E577C}" type="parTrans" cxnId="{4A439FA9-E722-4179-8C3D-B2E04A46AF77}">
      <dgm:prSet/>
      <dgm:spPr/>
      <dgm:t>
        <a:bodyPr/>
        <a:lstStyle/>
        <a:p>
          <a:endParaRPr lang="en-US" sz="1050"/>
        </a:p>
      </dgm:t>
    </dgm:pt>
    <dgm:pt modelId="{3829AEB2-2688-4AAF-B252-65573718246A}">
      <dgm:prSet custT="1"/>
      <dgm:spPr>
        <a:scene3d>
          <a:camera prst="orthographicFront"/>
          <a:lightRig rig="threePt" dir="t"/>
        </a:scene3d>
        <a:sp3d>
          <a:bevelT prst="angle"/>
        </a:sp3d>
      </dgm:spPr>
      <dgm:t>
        <a:bodyPr/>
        <a:lstStyle/>
        <a:p>
          <a:r>
            <a:rPr lang="en-US" sz="2000" dirty="0"/>
            <a:t>BCP</a:t>
          </a:r>
        </a:p>
      </dgm:t>
    </dgm:pt>
    <dgm:pt modelId="{6DCB0EFC-CE7E-4435-BC2D-EAE508B5F6FF}" type="parTrans" cxnId="{D1B22CB0-C53B-4884-81AF-C22EA0600DC5}">
      <dgm:prSet/>
      <dgm:spPr/>
    </dgm:pt>
    <dgm:pt modelId="{DBA24A0C-0928-40FD-B58E-A6C67CDDB996}" type="sibTrans" cxnId="{D1B22CB0-C53B-4884-81AF-C22EA0600DC5}">
      <dgm:prSet/>
      <dgm:spPr/>
    </dgm:pt>
    <dgm:pt modelId="{DD6E21AC-0EF6-4B1A-AF70-0CE8955EFBB4}">
      <dgm:prSet custT="1"/>
      <dgm:spPr>
        <a:scene3d>
          <a:camera prst="orthographicFront"/>
          <a:lightRig rig="threePt" dir="t"/>
        </a:scene3d>
        <a:sp3d>
          <a:bevelT prst="angle"/>
        </a:sp3d>
      </dgm:spPr>
      <dgm:t>
        <a:bodyPr/>
        <a:lstStyle/>
        <a:p>
          <a:r>
            <a:rPr lang="en-US" sz="2000" dirty="0" err="1"/>
            <a:t>SqlBulkCopy</a:t>
          </a:r>
          <a:endParaRPr lang="en-US" sz="2000" dirty="0"/>
        </a:p>
      </dgm:t>
    </dgm:pt>
    <dgm:pt modelId="{FBD5A42C-4F09-4CD8-BF6A-BF4E3717CBE8}" type="parTrans" cxnId="{E0B83B1E-49F4-4F02-9341-8653E15071F0}">
      <dgm:prSet/>
      <dgm:spPr/>
    </dgm:pt>
    <dgm:pt modelId="{5BC598E5-397F-4C45-8574-0C1DC77040DF}" type="sibTrans" cxnId="{E0B83B1E-49F4-4F02-9341-8653E15071F0}">
      <dgm:prSet/>
      <dgm:spPr/>
    </dgm:pt>
    <dgm:pt modelId="{6B265250-54E0-47C4-AFD2-6E4C3FC0592F}" type="pres">
      <dgm:prSet presAssocID="{DEF22971-1D80-4164-A497-E26B1CE6A70F}" presName="linear" presStyleCnt="0">
        <dgm:presLayoutVars>
          <dgm:dir/>
          <dgm:resizeHandles val="exact"/>
        </dgm:presLayoutVars>
      </dgm:prSet>
      <dgm:spPr/>
    </dgm:pt>
    <dgm:pt modelId="{E34D0E2E-A33F-4E3C-AA6E-82BEE244F319}" type="pres">
      <dgm:prSet presAssocID="{E2D18663-04D2-4F95-A736-D546E61D6345}" presName="comp" presStyleCnt="0"/>
      <dgm:spPr/>
    </dgm:pt>
    <dgm:pt modelId="{573D0113-504A-43D1-A869-A6F2C136DC94}" type="pres">
      <dgm:prSet presAssocID="{E2D18663-04D2-4F95-A736-D546E61D6345}" presName="box" presStyleLbl="node1" presStyleIdx="0" presStyleCnt="1" custLinFactNeighborY="-63250"/>
      <dgm:spPr/>
    </dgm:pt>
    <dgm:pt modelId="{4E4A1D22-A6E1-46AD-98FE-F63B60851647}" type="pres">
      <dgm:prSet presAssocID="{E2D18663-04D2-4F95-A736-D546E61D6345}" presName="img"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Hourglass"/>
        </a:ext>
      </dgm:extLst>
    </dgm:pt>
    <dgm:pt modelId="{962FC815-91B8-4558-924E-FCE079EC7407}" type="pres">
      <dgm:prSet presAssocID="{E2D18663-04D2-4F95-A736-D546E61D6345}" presName="text" presStyleLbl="node1" presStyleIdx="0" presStyleCnt="1">
        <dgm:presLayoutVars>
          <dgm:bulletEnabled val="1"/>
        </dgm:presLayoutVars>
      </dgm:prSet>
      <dgm:spPr/>
    </dgm:pt>
  </dgm:ptLst>
  <dgm:cxnLst>
    <dgm:cxn modelId="{99497F00-BDAA-4D79-BF8E-3252FB66B1D2}" type="presOf" srcId="{EAFD9828-1C2F-416E-8EE2-0B987C2DAB09}" destId="{573D0113-504A-43D1-A869-A6F2C136DC94}" srcOrd="0" destOrd="1" presId="urn:microsoft.com/office/officeart/2005/8/layout/vList4"/>
    <dgm:cxn modelId="{87A7E205-634A-4CDD-9DF5-2C23381F3DAF}" srcId="{DEF22971-1D80-4164-A497-E26B1CE6A70F}" destId="{E2D18663-04D2-4F95-A736-D546E61D6345}" srcOrd="0" destOrd="0" parTransId="{6E160B8D-42B3-480C-8F08-AE724A2E2CCE}" sibTransId="{1A6D344F-937E-474D-BCAB-AF7768DDAB8D}"/>
    <dgm:cxn modelId="{BDBA0607-FDBF-49A4-B5E3-C2FFFE386A73}" type="presOf" srcId="{DD6E21AC-0EF6-4B1A-AF70-0CE8955EFBB4}" destId="{962FC815-91B8-4558-924E-FCE079EC7407}" srcOrd="1" destOrd="4" presId="urn:microsoft.com/office/officeart/2005/8/layout/vList4"/>
    <dgm:cxn modelId="{4F02470D-C76E-4133-84FB-EE42D34E93C1}" type="presOf" srcId="{E2D18663-04D2-4F95-A736-D546E61D6345}" destId="{573D0113-504A-43D1-A869-A6F2C136DC94}" srcOrd="0" destOrd="0" presId="urn:microsoft.com/office/officeart/2005/8/layout/vList4"/>
    <dgm:cxn modelId="{E0B83B1E-49F4-4F02-9341-8653E15071F0}" srcId="{E2D18663-04D2-4F95-A736-D546E61D6345}" destId="{DD6E21AC-0EF6-4B1A-AF70-0CE8955EFBB4}" srcOrd="3" destOrd="0" parTransId="{FBD5A42C-4F09-4CD8-BF6A-BF4E3717CBE8}" sibTransId="{5BC598E5-397F-4C45-8574-0C1DC77040DF}"/>
    <dgm:cxn modelId="{EF08CA26-C718-4D84-8775-98D6EB566617}" type="presOf" srcId="{DD6E21AC-0EF6-4B1A-AF70-0CE8955EFBB4}" destId="{573D0113-504A-43D1-A869-A6F2C136DC94}" srcOrd="0" destOrd="4" presId="urn:microsoft.com/office/officeart/2005/8/layout/vList4"/>
    <dgm:cxn modelId="{2C5DDF3D-F000-4EA1-A317-017EE6CAAC2F}" type="presOf" srcId="{04F8B5EE-02B4-4764-9B6A-83155235E2CD}" destId="{962FC815-91B8-4558-924E-FCE079EC7407}" srcOrd="1" destOrd="2" presId="urn:microsoft.com/office/officeart/2005/8/layout/vList4"/>
    <dgm:cxn modelId="{3C794C44-9A8A-4B9A-AEDB-79071FDD54F6}" type="presOf" srcId="{E2D18663-04D2-4F95-A736-D546E61D6345}" destId="{962FC815-91B8-4558-924E-FCE079EC7407}" srcOrd="1" destOrd="0" presId="urn:microsoft.com/office/officeart/2005/8/layout/vList4"/>
    <dgm:cxn modelId="{97AEC544-4531-402F-8497-4C674EC08EFA}" type="presOf" srcId="{EAFD9828-1C2F-416E-8EE2-0B987C2DAB09}" destId="{962FC815-91B8-4558-924E-FCE079EC7407}" srcOrd="1" destOrd="1" presId="urn:microsoft.com/office/officeart/2005/8/layout/vList4"/>
    <dgm:cxn modelId="{CE42B056-A5D7-4AA8-943D-A1333A3E3648}" type="presOf" srcId="{DEF22971-1D80-4164-A497-E26B1CE6A70F}" destId="{6B265250-54E0-47C4-AFD2-6E4C3FC0592F}" srcOrd="0" destOrd="0" presId="urn:microsoft.com/office/officeart/2005/8/layout/vList4"/>
    <dgm:cxn modelId="{EFE47457-F418-40A6-B74D-881A84834810}" type="presOf" srcId="{04F8B5EE-02B4-4764-9B6A-83155235E2CD}" destId="{573D0113-504A-43D1-A869-A6F2C136DC94}" srcOrd="0" destOrd="2" presId="urn:microsoft.com/office/officeart/2005/8/layout/vList4"/>
    <dgm:cxn modelId="{4A439FA9-E722-4179-8C3D-B2E04A46AF77}" srcId="{E2D18663-04D2-4F95-A736-D546E61D6345}" destId="{04F8B5EE-02B4-4764-9B6A-83155235E2CD}" srcOrd="1" destOrd="0" parTransId="{4089020B-894C-41A4-978A-46565C8E577C}" sibTransId="{0DE31A11-43C8-4758-9B1F-2526D73D9952}"/>
    <dgm:cxn modelId="{D1B22CB0-C53B-4884-81AF-C22EA0600DC5}" srcId="{E2D18663-04D2-4F95-A736-D546E61D6345}" destId="{3829AEB2-2688-4AAF-B252-65573718246A}" srcOrd="2" destOrd="0" parTransId="{6DCB0EFC-CE7E-4435-BC2D-EAE508B5F6FF}" sibTransId="{DBA24A0C-0928-40FD-B58E-A6C67CDDB996}"/>
    <dgm:cxn modelId="{7A68F9C1-5323-4819-B1E1-B5A8A7296EC1}" type="presOf" srcId="{3829AEB2-2688-4AAF-B252-65573718246A}" destId="{573D0113-504A-43D1-A869-A6F2C136DC94}" srcOrd="0" destOrd="3" presId="urn:microsoft.com/office/officeart/2005/8/layout/vList4"/>
    <dgm:cxn modelId="{A433F1C8-138B-4A1C-A490-A1C37486622C}" type="presOf" srcId="{3829AEB2-2688-4AAF-B252-65573718246A}" destId="{962FC815-91B8-4558-924E-FCE079EC7407}" srcOrd="1" destOrd="3" presId="urn:microsoft.com/office/officeart/2005/8/layout/vList4"/>
    <dgm:cxn modelId="{7E10F4FD-A279-49F4-B146-DC66E7D7254E}" srcId="{E2D18663-04D2-4F95-A736-D546E61D6345}" destId="{EAFD9828-1C2F-416E-8EE2-0B987C2DAB09}" srcOrd="0" destOrd="0" parTransId="{C5F4ADDE-3803-40EB-B9BE-7A6E20191E1F}" sibTransId="{5E7EC3E6-BB8F-42DD-9416-562222214DED}"/>
    <dgm:cxn modelId="{E39B7BC0-A149-490F-BA39-B0B6EBC27162}" type="presParOf" srcId="{6B265250-54E0-47C4-AFD2-6E4C3FC0592F}" destId="{E34D0E2E-A33F-4E3C-AA6E-82BEE244F319}" srcOrd="0" destOrd="0" presId="urn:microsoft.com/office/officeart/2005/8/layout/vList4"/>
    <dgm:cxn modelId="{C7622658-53FD-40B2-9045-D623C40E60D5}" type="presParOf" srcId="{E34D0E2E-A33F-4E3C-AA6E-82BEE244F319}" destId="{573D0113-504A-43D1-A869-A6F2C136DC94}" srcOrd="0" destOrd="0" presId="urn:microsoft.com/office/officeart/2005/8/layout/vList4"/>
    <dgm:cxn modelId="{F341A23C-7400-4733-9F3F-9BE9DCDF663A}" type="presParOf" srcId="{E34D0E2E-A33F-4E3C-AA6E-82BEE244F319}" destId="{4E4A1D22-A6E1-46AD-98FE-F63B60851647}" srcOrd="1" destOrd="0" presId="urn:microsoft.com/office/officeart/2005/8/layout/vList4"/>
    <dgm:cxn modelId="{63FFCC58-C38F-496C-ADE1-BFC298ADAE53}" type="presParOf" srcId="{E34D0E2E-A33F-4E3C-AA6E-82BEE244F319}" destId="{962FC815-91B8-4558-924E-FCE079EC7407}"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EF22971-1D80-4164-A497-E26B1CE6A70F}"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DCDA5363-A6EB-43F6-8FBA-8958E4ECDCCF}">
      <dgm:prSet custT="1"/>
      <dgm:spPr/>
      <dgm:t>
        <a:bodyPr/>
        <a:lstStyle/>
        <a:p>
          <a:r>
            <a:rPr lang="en-US" sz="3600" dirty="0"/>
            <a:t>Transform</a:t>
          </a:r>
        </a:p>
      </dgm:t>
    </dgm:pt>
    <dgm:pt modelId="{DD32024E-7308-483E-BCB8-477BBB8E59E5}" type="sibTrans" cxnId="{13592CE2-6807-4F42-9C31-86E8BBBDE637}">
      <dgm:prSet/>
      <dgm:spPr/>
      <dgm:t>
        <a:bodyPr/>
        <a:lstStyle/>
        <a:p>
          <a:endParaRPr lang="en-US" sz="1100"/>
        </a:p>
      </dgm:t>
    </dgm:pt>
    <dgm:pt modelId="{CE6361DE-2A1B-4E75-8F65-EA755BA97571}" type="parTrans" cxnId="{13592CE2-6807-4F42-9C31-86E8BBBDE637}">
      <dgm:prSet/>
      <dgm:spPr/>
      <dgm:t>
        <a:bodyPr/>
        <a:lstStyle/>
        <a:p>
          <a:endParaRPr lang="en-US" sz="1100"/>
        </a:p>
      </dgm:t>
    </dgm:pt>
    <dgm:pt modelId="{7A93B330-5C0A-4A5A-967F-4AFA572C75E2}">
      <dgm:prSet custT="1"/>
      <dgm:spPr/>
      <dgm:t>
        <a:bodyPr/>
        <a:lstStyle/>
        <a:p>
          <a:r>
            <a:rPr lang="en-US" sz="2000" dirty="0"/>
            <a:t>Apply business rules</a:t>
          </a:r>
        </a:p>
      </dgm:t>
    </dgm:pt>
    <dgm:pt modelId="{8B4EEFA8-2F1B-4FDE-904C-4366525829F9}" type="parTrans" cxnId="{57E76E83-D638-42A4-B700-9970556ED952}">
      <dgm:prSet/>
      <dgm:spPr/>
      <dgm:t>
        <a:bodyPr/>
        <a:lstStyle/>
        <a:p>
          <a:endParaRPr lang="en-US" sz="1100"/>
        </a:p>
      </dgm:t>
    </dgm:pt>
    <dgm:pt modelId="{73761406-1409-4E2B-A39A-CBDC43908EB8}" type="sibTrans" cxnId="{57E76E83-D638-42A4-B700-9970556ED952}">
      <dgm:prSet/>
      <dgm:spPr/>
      <dgm:t>
        <a:bodyPr/>
        <a:lstStyle/>
        <a:p>
          <a:endParaRPr lang="en-US" sz="1100"/>
        </a:p>
      </dgm:t>
    </dgm:pt>
    <dgm:pt modelId="{10DD7700-D1F6-4F04-AE59-739B86C13B1C}">
      <dgm:prSet custT="1"/>
      <dgm:spPr/>
      <dgm:t>
        <a:bodyPr/>
        <a:lstStyle/>
        <a:p>
          <a:r>
            <a:rPr lang="en-US" sz="2000" dirty="0"/>
            <a:t>Data cleansing</a:t>
          </a:r>
        </a:p>
        <a:p>
          <a:r>
            <a:rPr lang="en-US" sz="2000" dirty="0"/>
            <a:t>Can be orchestrated via ADF</a:t>
          </a:r>
        </a:p>
        <a:p>
          <a:r>
            <a:rPr lang="en-US" sz="2000" dirty="0"/>
            <a:t>T-SQL</a:t>
          </a:r>
        </a:p>
      </dgm:t>
    </dgm:pt>
    <dgm:pt modelId="{9F3E06A1-F44F-41DD-BF6F-9AA64BCD2BAD}" type="parTrans" cxnId="{074B09F4-0555-4FA8-8CC0-1736E38B637A}">
      <dgm:prSet/>
      <dgm:spPr/>
      <dgm:t>
        <a:bodyPr/>
        <a:lstStyle/>
        <a:p>
          <a:endParaRPr lang="en-US" sz="1100"/>
        </a:p>
      </dgm:t>
    </dgm:pt>
    <dgm:pt modelId="{7C42BA38-DD21-40EC-8E41-679BA775BA49}" type="sibTrans" cxnId="{074B09F4-0555-4FA8-8CC0-1736E38B637A}">
      <dgm:prSet/>
      <dgm:spPr/>
      <dgm:t>
        <a:bodyPr/>
        <a:lstStyle/>
        <a:p>
          <a:endParaRPr lang="en-US" sz="1100"/>
        </a:p>
      </dgm:t>
    </dgm:pt>
    <dgm:pt modelId="{E0040700-703F-4056-8006-D242EF23BA54}" type="pres">
      <dgm:prSet presAssocID="{DEF22971-1D80-4164-A497-E26B1CE6A70F}" presName="linear" presStyleCnt="0">
        <dgm:presLayoutVars>
          <dgm:dir/>
          <dgm:resizeHandles val="exact"/>
        </dgm:presLayoutVars>
      </dgm:prSet>
      <dgm:spPr/>
    </dgm:pt>
    <dgm:pt modelId="{854AAFFD-1EF2-4EC2-9921-F0CB54E78C78}" type="pres">
      <dgm:prSet presAssocID="{DCDA5363-A6EB-43F6-8FBA-8958E4ECDCCF}" presName="comp" presStyleCnt="0"/>
      <dgm:spPr/>
    </dgm:pt>
    <dgm:pt modelId="{F254E9C0-2239-4063-B8C3-0EBE91C9A9E8}" type="pres">
      <dgm:prSet presAssocID="{DCDA5363-A6EB-43F6-8FBA-8958E4ECDCCF}" presName="box" presStyleLbl="node1" presStyleIdx="0" presStyleCnt="1"/>
      <dgm:spPr/>
    </dgm:pt>
    <dgm:pt modelId="{99E4C17D-FA66-4073-8E27-276080A4CFF4}" type="pres">
      <dgm:prSet presAssocID="{DCDA5363-A6EB-43F6-8FBA-8958E4ECDCCF}" presName="img"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Head with Gears"/>
        </a:ext>
      </dgm:extLst>
    </dgm:pt>
    <dgm:pt modelId="{43651D03-55A6-405C-8E32-5CA4A82E7CB1}" type="pres">
      <dgm:prSet presAssocID="{DCDA5363-A6EB-43F6-8FBA-8958E4ECDCCF}" presName="text" presStyleLbl="node1" presStyleIdx="0" presStyleCnt="1">
        <dgm:presLayoutVars>
          <dgm:bulletEnabled val="1"/>
        </dgm:presLayoutVars>
      </dgm:prSet>
      <dgm:spPr/>
    </dgm:pt>
  </dgm:ptLst>
  <dgm:cxnLst>
    <dgm:cxn modelId="{48CC962C-F51C-4B20-ABA1-773B78CEF857}" type="presOf" srcId="{DEF22971-1D80-4164-A497-E26B1CE6A70F}" destId="{E0040700-703F-4056-8006-D242EF23BA54}" srcOrd="0" destOrd="0" presId="urn:microsoft.com/office/officeart/2005/8/layout/vList4"/>
    <dgm:cxn modelId="{03D7D83A-A975-4C76-A2B2-467CA2A032CD}" type="presOf" srcId="{7A93B330-5C0A-4A5A-967F-4AFA572C75E2}" destId="{F254E9C0-2239-4063-B8C3-0EBE91C9A9E8}" srcOrd="0" destOrd="1" presId="urn:microsoft.com/office/officeart/2005/8/layout/vList4"/>
    <dgm:cxn modelId="{15CD0E66-AE11-47BF-87E2-CA81EAD31B7B}" type="presOf" srcId="{DCDA5363-A6EB-43F6-8FBA-8958E4ECDCCF}" destId="{43651D03-55A6-405C-8E32-5CA4A82E7CB1}" srcOrd="1" destOrd="0" presId="urn:microsoft.com/office/officeart/2005/8/layout/vList4"/>
    <dgm:cxn modelId="{F4EAE57A-B845-461C-9B95-35F19EF59304}" type="presOf" srcId="{DCDA5363-A6EB-43F6-8FBA-8958E4ECDCCF}" destId="{F254E9C0-2239-4063-B8C3-0EBE91C9A9E8}" srcOrd="0" destOrd="0" presId="urn:microsoft.com/office/officeart/2005/8/layout/vList4"/>
    <dgm:cxn modelId="{12E4BF7D-61B7-409D-BB98-4DA16DFE30EB}" type="presOf" srcId="{10DD7700-D1F6-4F04-AE59-739B86C13B1C}" destId="{F254E9C0-2239-4063-B8C3-0EBE91C9A9E8}" srcOrd="0" destOrd="2" presId="urn:microsoft.com/office/officeart/2005/8/layout/vList4"/>
    <dgm:cxn modelId="{B3433E81-773E-4468-820A-5C18461B3A4E}" type="presOf" srcId="{10DD7700-D1F6-4F04-AE59-739B86C13B1C}" destId="{43651D03-55A6-405C-8E32-5CA4A82E7CB1}" srcOrd="1" destOrd="2" presId="urn:microsoft.com/office/officeart/2005/8/layout/vList4"/>
    <dgm:cxn modelId="{57E76E83-D638-42A4-B700-9970556ED952}" srcId="{DCDA5363-A6EB-43F6-8FBA-8958E4ECDCCF}" destId="{7A93B330-5C0A-4A5A-967F-4AFA572C75E2}" srcOrd="0" destOrd="0" parTransId="{8B4EEFA8-2F1B-4FDE-904C-4366525829F9}" sibTransId="{73761406-1409-4E2B-A39A-CBDC43908EB8}"/>
    <dgm:cxn modelId="{82546AAD-9F5D-4520-B6DD-578E075441AC}" type="presOf" srcId="{7A93B330-5C0A-4A5A-967F-4AFA572C75E2}" destId="{43651D03-55A6-405C-8E32-5CA4A82E7CB1}" srcOrd="1" destOrd="1" presId="urn:microsoft.com/office/officeart/2005/8/layout/vList4"/>
    <dgm:cxn modelId="{13592CE2-6807-4F42-9C31-86E8BBBDE637}" srcId="{DEF22971-1D80-4164-A497-E26B1CE6A70F}" destId="{DCDA5363-A6EB-43F6-8FBA-8958E4ECDCCF}" srcOrd="0" destOrd="0" parTransId="{CE6361DE-2A1B-4E75-8F65-EA755BA97571}" sibTransId="{DD32024E-7308-483E-BCB8-477BBB8E59E5}"/>
    <dgm:cxn modelId="{074B09F4-0555-4FA8-8CC0-1736E38B637A}" srcId="{DCDA5363-A6EB-43F6-8FBA-8958E4ECDCCF}" destId="{10DD7700-D1F6-4F04-AE59-739B86C13B1C}" srcOrd="1" destOrd="0" parTransId="{9F3E06A1-F44F-41DD-BF6F-9AA64BCD2BAD}" sibTransId="{7C42BA38-DD21-40EC-8E41-679BA775BA49}"/>
    <dgm:cxn modelId="{C9202CD1-A4CF-4F36-A3CA-2AA67902A6D5}" type="presParOf" srcId="{E0040700-703F-4056-8006-D242EF23BA54}" destId="{854AAFFD-1EF2-4EC2-9921-F0CB54E78C78}" srcOrd="0" destOrd="0" presId="urn:microsoft.com/office/officeart/2005/8/layout/vList4"/>
    <dgm:cxn modelId="{E3CD3D3D-175B-485A-A451-D7EA5D64F61E}" type="presParOf" srcId="{854AAFFD-1EF2-4EC2-9921-F0CB54E78C78}" destId="{F254E9C0-2239-4063-B8C3-0EBE91C9A9E8}" srcOrd="0" destOrd="0" presId="urn:microsoft.com/office/officeart/2005/8/layout/vList4"/>
    <dgm:cxn modelId="{96AF179D-1AB9-4B0B-AF77-EA904FA2921A}" type="presParOf" srcId="{854AAFFD-1EF2-4EC2-9921-F0CB54E78C78}" destId="{99E4C17D-FA66-4073-8E27-276080A4CFF4}" srcOrd="1" destOrd="0" presId="urn:microsoft.com/office/officeart/2005/8/layout/vList4"/>
    <dgm:cxn modelId="{A16C3745-A9FC-4CF5-A233-8BE50FBFC5CB}" type="presParOf" srcId="{854AAFFD-1EF2-4EC2-9921-F0CB54E78C78}" destId="{43651D03-55A6-405C-8E32-5CA4A82E7CB1}"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EF22971-1D80-4164-A497-E26B1CE6A70F}"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A13115C1-2A02-4116-A5A0-B8D701EDED9C}">
      <dgm:prSet custT="1"/>
      <dgm:spPr>
        <a:scene3d>
          <a:camera prst="orthographicFront"/>
          <a:lightRig rig="threePt" dir="t"/>
        </a:scene3d>
        <a:sp3d>
          <a:bevelT prst="angle"/>
        </a:sp3d>
      </dgm:spPr>
      <dgm:t>
        <a:bodyPr/>
        <a:lstStyle/>
        <a:p>
          <a:r>
            <a:rPr lang="en-US" sz="3600" dirty="0"/>
            <a:t>Insert Into Destination</a:t>
          </a:r>
        </a:p>
      </dgm:t>
    </dgm:pt>
    <dgm:pt modelId="{9C11F9A1-B449-43D8-B8D9-5431C2F10A39}" type="sibTrans" cxnId="{81E9DE11-9512-4A92-A9A8-1410A2578A69}">
      <dgm:prSet/>
      <dgm:spPr/>
      <dgm:t>
        <a:bodyPr/>
        <a:lstStyle/>
        <a:p>
          <a:endParaRPr lang="en-US"/>
        </a:p>
      </dgm:t>
    </dgm:pt>
    <dgm:pt modelId="{771A6FF3-6804-40BC-B717-3F45C074D39B}" type="parTrans" cxnId="{81E9DE11-9512-4A92-A9A8-1410A2578A69}">
      <dgm:prSet/>
      <dgm:spPr/>
      <dgm:t>
        <a:bodyPr/>
        <a:lstStyle/>
        <a:p>
          <a:endParaRPr lang="en-US"/>
        </a:p>
      </dgm:t>
    </dgm:pt>
    <dgm:pt modelId="{B70EC70F-1C97-499D-A31E-5F1B0DC032A5}">
      <dgm:prSet/>
      <dgm:spPr>
        <a:scene3d>
          <a:camera prst="orthographicFront"/>
          <a:lightRig rig="threePt" dir="t"/>
        </a:scene3d>
        <a:sp3d>
          <a:bevelT prst="angle"/>
        </a:sp3d>
      </dgm:spPr>
      <dgm:t>
        <a:bodyPr/>
        <a:lstStyle/>
        <a:p>
          <a:endParaRPr lang="en-US" sz="5100" dirty="0"/>
        </a:p>
      </dgm:t>
    </dgm:pt>
    <dgm:pt modelId="{AB3853C7-32AD-4399-8107-877376288BDD}" type="parTrans" cxnId="{3DF93E8C-D9AC-45EE-8A5A-B34984447748}">
      <dgm:prSet/>
      <dgm:spPr/>
      <dgm:t>
        <a:bodyPr/>
        <a:lstStyle/>
        <a:p>
          <a:endParaRPr lang="en-US"/>
        </a:p>
      </dgm:t>
    </dgm:pt>
    <dgm:pt modelId="{39229571-99A5-4F0F-84DA-F7F7D45084FA}" type="sibTrans" cxnId="{3DF93E8C-D9AC-45EE-8A5A-B34984447748}">
      <dgm:prSet/>
      <dgm:spPr/>
      <dgm:t>
        <a:bodyPr/>
        <a:lstStyle/>
        <a:p>
          <a:endParaRPr lang="en-US"/>
        </a:p>
      </dgm:t>
    </dgm:pt>
    <dgm:pt modelId="{46EEBB4F-99EE-467E-9307-8B0694F57467}" type="pres">
      <dgm:prSet presAssocID="{DEF22971-1D80-4164-A497-E26B1CE6A70F}" presName="linear" presStyleCnt="0">
        <dgm:presLayoutVars>
          <dgm:dir/>
          <dgm:resizeHandles val="exact"/>
        </dgm:presLayoutVars>
      </dgm:prSet>
      <dgm:spPr/>
    </dgm:pt>
    <dgm:pt modelId="{83E12E2C-D1C0-4396-A3A1-F0D41AD2DAB8}" type="pres">
      <dgm:prSet presAssocID="{A13115C1-2A02-4116-A5A0-B8D701EDED9C}" presName="comp" presStyleCnt="0"/>
      <dgm:spPr/>
    </dgm:pt>
    <dgm:pt modelId="{C6BFC20C-FA0B-490A-A218-65D26D90E588}" type="pres">
      <dgm:prSet presAssocID="{A13115C1-2A02-4116-A5A0-B8D701EDED9C}" presName="box" presStyleLbl="node1" presStyleIdx="0" presStyleCnt="1"/>
      <dgm:spPr/>
    </dgm:pt>
    <dgm:pt modelId="{1569CC84-223F-4E7B-ADC1-734AAB3B09C8}" type="pres">
      <dgm:prSet presAssocID="{A13115C1-2A02-4116-A5A0-B8D701EDED9C}" presName="img" presStyleLbl="fgImgPlace1" presStyleIdx="0" presStyleCnt="1"/>
      <dgm:spPr>
        <a:blipFill rotWithShape="1">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Marker"/>
        </a:ext>
      </dgm:extLst>
    </dgm:pt>
    <dgm:pt modelId="{38C168F0-1FCD-42D6-B785-B5925276C436}" type="pres">
      <dgm:prSet presAssocID="{A13115C1-2A02-4116-A5A0-B8D701EDED9C}" presName="text" presStyleLbl="node1" presStyleIdx="0" presStyleCnt="1">
        <dgm:presLayoutVars>
          <dgm:bulletEnabled val="1"/>
        </dgm:presLayoutVars>
      </dgm:prSet>
      <dgm:spPr/>
    </dgm:pt>
  </dgm:ptLst>
  <dgm:cxnLst>
    <dgm:cxn modelId="{81E9DE11-9512-4A92-A9A8-1410A2578A69}" srcId="{DEF22971-1D80-4164-A497-E26B1CE6A70F}" destId="{A13115C1-2A02-4116-A5A0-B8D701EDED9C}" srcOrd="0" destOrd="0" parTransId="{771A6FF3-6804-40BC-B717-3F45C074D39B}" sibTransId="{9C11F9A1-B449-43D8-B8D9-5431C2F10A39}"/>
    <dgm:cxn modelId="{87397D3B-1D49-42BA-B6D5-2F75D1AD3C35}" type="presOf" srcId="{A13115C1-2A02-4116-A5A0-B8D701EDED9C}" destId="{38C168F0-1FCD-42D6-B785-B5925276C436}" srcOrd="1" destOrd="0" presId="urn:microsoft.com/office/officeart/2005/8/layout/vList4"/>
    <dgm:cxn modelId="{676BDC72-FBBD-4A06-AD07-CB4794112BC8}" type="presOf" srcId="{B70EC70F-1C97-499D-A31E-5F1B0DC032A5}" destId="{38C168F0-1FCD-42D6-B785-B5925276C436}" srcOrd="1" destOrd="1" presId="urn:microsoft.com/office/officeart/2005/8/layout/vList4"/>
    <dgm:cxn modelId="{33817856-7B99-4521-8288-F0693F869339}" type="presOf" srcId="{B70EC70F-1C97-499D-A31E-5F1B0DC032A5}" destId="{C6BFC20C-FA0B-490A-A218-65D26D90E588}" srcOrd="0" destOrd="1" presId="urn:microsoft.com/office/officeart/2005/8/layout/vList4"/>
    <dgm:cxn modelId="{3DF93E8C-D9AC-45EE-8A5A-B34984447748}" srcId="{A13115C1-2A02-4116-A5A0-B8D701EDED9C}" destId="{B70EC70F-1C97-499D-A31E-5F1B0DC032A5}" srcOrd="0" destOrd="0" parTransId="{AB3853C7-32AD-4399-8107-877376288BDD}" sibTransId="{39229571-99A5-4F0F-84DA-F7F7D45084FA}"/>
    <dgm:cxn modelId="{4C907891-B6BD-45EF-B26B-C9F9B5A25F03}" type="presOf" srcId="{DEF22971-1D80-4164-A497-E26B1CE6A70F}" destId="{46EEBB4F-99EE-467E-9307-8B0694F57467}" srcOrd="0" destOrd="0" presId="urn:microsoft.com/office/officeart/2005/8/layout/vList4"/>
    <dgm:cxn modelId="{766C1FA4-2EDE-4840-AF7A-B0847FC5746D}" type="presOf" srcId="{A13115C1-2A02-4116-A5A0-B8D701EDED9C}" destId="{C6BFC20C-FA0B-490A-A218-65D26D90E588}" srcOrd="0" destOrd="0" presId="urn:microsoft.com/office/officeart/2005/8/layout/vList4"/>
    <dgm:cxn modelId="{A28D2FC4-F7D2-41F9-8B19-227AF5F8603D}" type="presParOf" srcId="{46EEBB4F-99EE-467E-9307-8B0694F57467}" destId="{83E12E2C-D1C0-4396-A3A1-F0D41AD2DAB8}" srcOrd="0" destOrd="0" presId="urn:microsoft.com/office/officeart/2005/8/layout/vList4"/>
    <dgm:cxn modelId="{53C530CA-F9DD-4785-ACBC-F2675875D3F8}" type="presParOf" srcId="{83E12E2C-D1C0-4396-A3A1-F0D41AD2DAB8}" destId="{C6BFC20C-FA0B-490A-A218-65D26D90E588}" srcOrd="0" destOrd="0" presId="urn:microsoft.com/office/officeart/2005/8/layout/vList4"/>
    <dgm:cxn modelId="{1F655AB6-81E6-4A54-A71A-2D87E9EF9A76}" type="presParOf" srcId="{83E12E2C-D1C0-4396-A3A1-F0D41AD2DAB8}" destId="{1569CC84-223F-4E7B-ADC1-734AAB3B09C8}" srcOrd="1" destOrd="0" presId="urn:microsoft.com/office/officeart/2005/8/layout/vList4"/>
    <dgm:cxn modelId="{D88F8874-1D9C-40C6-9105-D52A808C1EF9}" type="presParOf" srcId="{83E12E2C-D1C0-4396-A3A1-F0D41AD2DAB8}" destId="{38C168F0-1FCD-42D6-B785-B5925276C436}"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985183A-17AC-4A94-8AF8-C3EE02C7FEAF}" type="doc">
      <dgm:prSet loTypeId="urn:microsoft.com/office/officeart/2005/8/layout/default" loCatId="list" qsTypeId="urn:microsoft.com/office/officeart/2005/8/quickstyle/simple2" qsCatId="simple" csTypeId="urn:microsoft.com/office/officeart/2005/8/colors/accent2_2" csCatId="accent2" phldr="1"/>
      <dgm:spPr/>
      <dgm:t>
        <a:bodyPr/>
        <a:lstStyle/>
        <a:p>
          <a:endParaRPr lang="en-US"/>
        </a:p>
      </dgm:t>
    </dgm:pt>
    <dgm:pt modelId="{88F21687-CBB2-4F34-AD57-5451A4CCDEBC}">
      <dgm:prSet/>
      <dgm:spPr>
        <a:effectLst>
          <a:reflection blurRad="6350" stA="50000" endA="300" endPos="38500" dist="50800" dir="5400000" sy="-100000" algn="bl" rotWithShape="0"/>
        </a:effectLst>
        <a:scene3d>
          <a:camera prst="orthographicFront"/>
          <a:lightRig rig="threePt" dir="t"/>
        </a:scene3d>
        <a:sp3d>
          <a:bevelT prst="angle"/>
        </a:sp3d>
      </dgm:spPr>
      <dgm:t>
        <a:bodyPr/>
        <a:lstStyle/>
        <a:p>
          <a:r>
            <a:rPr lang="en-US" baseline="0"/>
            <a:t>Preparing data</a:t>
          </a:r>
          <a:endParaRPr lang="en-US"/>
        </a:p>
      </dgm:t>
    </dgm:pt>
    <dgm:pt modelId="{52235E93-5DFD-4C36-9951-72E311EEDDBB}" type="parTrans" cxnId="{F9970275-12AA-4267-808D-1AABCAD30086}">
      <dgm:prSet/>
      <dgm:spPr/>
      <dgm:t>
        <a:bodyPr/>
        <a:lstStyle/>
        <a:p>
          <a:endParaRPr lang="en-US"/>
        </a:p>
      </dgm:t>
    </dgm:pt>
    <dgm:pt modelId="{FBF1A830-5AD6-45E1-B3A4-7FC4A6F057C7}" type="sibTrans" cxnId="{F9970275-12AA-4267-808D-1AABCAD30086}">
      <dgm:prSet/>
      <dgm:spPr/>
      <dgm:t>
        <a:bodyPr/>
        <a:lstStyle/>
        <a:p>
          <a:endParaRPr lang="en-US"/>
        </a:p>
      </dgm:t>
    </dgm:pt>
    <dgm:pt modelId="{C04FEE50-81F6-493B-AC85-B34EEF0D5B1F}">
      <dgm:prSet/>
      <dgm:spPr>
        <a:effectLst>
          <a:reflection blurRad="6350" stA="50000" endA="300" endPos="38500" dist="50800" dir="5400000" sy="-100000" algn="bl" rotWithShape="0"/>
        </a:effectLst>
        <a:scene3d>
          <a:camera prst="orthographicFront"/>
          <a:lightRig rig="threePt" dir="t"/>
        </a:scene3d>
        <a:sp3d>
          <a:bevelT prst="angle"/>
        </a:sp3d>
      </dgm:spPr>
      <dgm:t>
        <a:bodyPr/>
        <a:lstStyle/>
        <a:p>
          <a:r>
            <a:rPr lang="en-US" baseline="0"/>
            <a:t>Choosing enough compute </a:t>
          </a:r>
          <a:endParaRPr lang="en-US"/>
        </a:p>
      </dgm:t>
    </dgm:pt>
    <dgm:pt modelId="{0CA18425-A419-408A-8833-45CB087672A2}" type="parTrans" cxnId="{8A0059A0-B796-43EA-A0EA-964B425AE4FB}">
      <dgm:prSet/>
      <dgm:spPr/>
      <dgm:t>
        <a:bodyPr/>
        <a:lstStyle/>
        <a:p>
          <a:endParaRPr lang="en-US"/>
        </a:p>
      </dgm:t>
    </dgm:pt>
    <dgm:pt modelId="{52D06645-7F5D-4BB0-91F3-FCB0B83ED24C}" type="sibTrans" cxnId="{8A0059A0-B796-43EA-A0EA-964B425AE4FB}">
      <dgm:prSet/>
      <dgm:spPr/>
      <dgm:t>
        <a:bodyPr/>
        <a:lstStyle/>
        <a:p>
          <a:endParaRPr lang="en-US"/>
        </a:p>
      </dgm:t>
    </dgm:pt>
    <dgm:pt modelId="{BAD97166-872A-4501-AFA4-A4AB917B3557}">
      <dgm:prSet/>
      <dgm:spPr>
        <a:effectLst>
          <a:reflection blurRad="6350" stA="50000" endA="300" endPos="38500" dist="50800" dir="5400000" sy="-100000" algn="bl" rotWithShape="0"/>
        </a:effectLst>
        <a:scene3d>
          <a:camera prst="orthographicFront"/>
          <a:lightRig rig="threePt" dir="t"/>
        </a:scene3d>
        <a:sp3d>
          <a:bevelT prst="angle"/>
        </a:sp3d>
      </dgm:spPr>
      <dgm:t>
        <a:bodyPr/>
        <a:lstStyle/>
        <a:p>
          <a:r>
            <a:rPr lang="en-US" baseline="0"/>
            <a:t>Using PolyBase</a:t>
          </a:r>
          <a:endParaRPr lang="en-US"/>
        </a:p>
      </dgm:t>
    </dgm:pt>
    <dgm:pt modelId="{468B98F7-914F-476A-9E6C-C08D1CD2F9D5}" type="parTrans" cxnId="{6E23C088-35B9-4ACD-A9BB-D8F1B9158EFD}">
      <dgm:prSet/>
      <dgm:spPr/>
      <dgm:t>
        <a:bodyPr/>
        <a:lstStyle/>
        <a:p>
          <a:endParaRPr lang="en-US"/>
        </a:p>
      </dgm:t>
    </dgm:pt>
    <dgm:pt modelId="{7EE3897D-FB20-42F4-A533-4E6E8BE19494}" type="sibTrans" cxnId="{6E23C088-35B9-4ACD-A9BB-D8F1B9158EFD}">
      <dgm:prSet/>
      <dgm:spPr/>
      <dgm:t>
        <a:bodyPr/>
        <a:lstStyle/>
        <a:p>
          <a:endParaRPr lang="en-US"/>
        </a:p>
      </dgm:t>
    </dgm:pt>
    <dgm:pt modelId="{F2BCF7B2-3FEF-454A-A861-8D264FB2E99B}">
      <dgm:prSet/>
      <dgm:spPr>
        <a:effectLst>
          <a:reflection blurRad="6350" stA="50000" endA="300" endPos="38500" dist="50800" dir="5400000" sy="-100000" algn="bl" rotWithShape="0"/>
        </a:effectLst>
        <a:scene3d>
          <a:camera prst="orthographicFront"/>
          <a:lightRig rig="threePt" dir="t"/>
        </a:scene3d>
        <a:sp3d>
          <a:bevelT prst="angle"/>
        </a:sp3d>
      </dgm:spPr>
      <dgm:t>
        <a:bodyPr/>
        <a:lstStyle/>
        <a:p>
          <a:r>
            <a:rPr lang="en-US" baseline="0"/>
            <a:t>Using staging tables</a:t>
          </a:r>
          <a:endParaRPr lang="en-US"/>
        </a:p>
      </dgm:t>
    </dgm:pt>
    <dgm:pt modelId="{D8E4415E-4CF9-4BFC-AB4F-F8B2F9342A17}" type="parTrans" cxnId="{4806E8B4-BB44-4903-A9A5-6FED25652535}">
      <dgm:prSet/>
      <dgm:spPr/>
      <dgm:t>
        <a:bodyPr/>
        <a:lstStyle/>
        <a:p>
          <a:endParaRPr lang="en-US"/>
        </a:p>
      </dgm:t>
    </dgm:pt>
    <dgm:pt modelId="{A163383D-1844-434A-8BD7-F883D063858B}" type="sibTrans" cxnId="{4806E8B4-BB44-4903-A9A5-6FED25652535}">
      <dgm:prSet/>
      <dgm:spPr/>
      <dgm:t>
        <a:bodyPr/>
        <a:lstStyle/>
        <a:p>
          <a:endParaRPr lang="en-US"/>
        </a:p>
      </dgm:t>
    </dgm:pt>
    <dgm:pt modelId="{824B9F55-4AC3-46E9-B7A9-D59F004F4FFA}">
      <dgm:prSet/>
      <dgm:spPr>
        <a:effectLst>
          <a:reflection blurRad="6350" stA="50000" endA="300" endPos="38500" dist="50800" dir="5400000" sy="-100000" algn="bl" rotWithShape="0"/>
        </a:effectLst>
        <a:scene3d>
          <a:camera prst="orthographicFront"/>
          <a:lightRig rig="threePt" dir="t"/>
        </a:scene3d>
        <a:sp3d>
          <a:bevelT prst="angle"/>
        </a:sp3d>
      </dgm:spPr>
      <dgm:t>
        <a:bodyPr/>
        <a:lstStyle/>
        <a:p>
          <a:r>
            <a:rPr lang="en-US" baseline="0"/>
            <a:t>CCI load</a:t>
          </a:r>
          <a:endParaRPr lang="en-US"/>
        </a:p>
      </dgm:t>
    </dgm:pt>
    <dgm:pt modelId="{648D0083-9E9F-47B2-AB85-42AEF19E74C5}" type="parTrans" cxnId="{A9B54421-EA5D-483A-8700-619502D0FDB8}">
      <dgm:prSet/>
      <dgm:spPr/>
      <dgm:t>
        <a:bodyPr/>
        <a:lstStyle/>
        <a:p>
          <a:endParaRPr lang="en-US"/>
        </a:p>
      </dgm:t>
    </dgm:pt>
    <dgm:pt modelId="{9DFBEE94-520E-4A84-8667-5D5D98131B1A}" type="sibTrans" cxnId="{A9B54421-EA5D-483A-8700-619502D0FDB8}">
      <dgm:prSet/>
      <dgm:spPr/>
      <dgm:t>
        <a:bodyPr/>
        <a:lstStyle/>
        <a:p>
          <a:endParaRPr lang="en-US"/>
        </a:p>
      </dgm:t>
    </dgm:pt>
    <dgm:pt modelId="{5879A6B7-425D-4ECE-8CD2-85308B201437}">
      <dgm:prSet/>
      <dgm:spPr>
        <a:effectLst>
          <a:reflection blurRad="6350" stA="50000" endA="300" endPos="38500" dist="50800" dir="5400000" sy="-100000" algn="bl" rotWithShape="0"/>
        </a:effectLst>
        <a:scene3d>
          <a:camera prst="orthographicFront"/>
          <a:lightRig rig="threePt" dir="t"/>
        </a:scene3d>
        <a:sp3d>
          <a:bevelT prst="angle"/>
        </a:sp3d>
      </dgm:spPr>
      <dgm:t>
        <a:bodyPr/>
        <a:lstStyle/>
        <a:p>
          <a:r>
            <a:rPr lang="en-US" baseline="0"/>
            <a:t>Batch sizes</a:t>
          </a:r>
          <a:endParaRPr lang="en-US"/>
        </a:p>
      </dgm:t>
    </dgm:pt>
    <dgm:pt modelId="{F12E6B77-2B0A-4AB2-9B4B-5630E136A8AA}" type="parTrans" cxnId="{03ACB438-C458-457A-84B3-E4695E4AD60D}">
      <dgm:prSet/>
      <dgm:spPr/>
      <dgm:t>
        <a:bodyPr/>
        <a:lstStyle/>
        <a:p>
          <a:endParaRPr lang="en-US"/>
        </a:p>
      </dgm:t>
    </dgm:pt>
    <dgm:pt modelId="{03A7D693-5CC2-4D02-A202-FCE300A884AE}" type="sibTrans" cxnId="{03ACB438-C458-457A-84B3-E4695E4AD60D}">
      <dgm:prSet/>
      <dgm:spPr/>
      <dgm:t>
        <a:bodyPr/>
        <a:lstStyle/>
        <a:p>
          <a:endParaRPr lang="en-US"/>
        </a:p>
      </dgm:t>
    </dgm:pt>
    <dgm:pt modelId="{FCC8AAB1-27B4-4B0C-B38B-CD8CB54DE384}">
      <dgm:prSet/>
      <dgm:spPr>
        <a:effectLst>
          <a:reflection blurRad="6350" stA="50000" endA="300" endPos="38500" dist="50800" dir="5400000" sy="-100000" algn="bl" rotWithShape="0"/>
        </a:effectLst>
        <a:scene3d>
          <a:camera prst="orthographicFront"/>
          <a:lightRig rig="threePt" dir="t"/>
        </a:scene3d>
        <a:sp3d>
          <a:bevelT prst="angle"/>
        </a:sp3d>
      </dgm:spPr>
      <dgm:t>
        <a:bodyPr/>
        <a:lstStyle/>
        <a:p>
          <a:r>
            <a:rPr lang="en-US" baseline="0"/>
            <a:t>Insert into Prod tables</a:t>
          </a:r>
          <a:endParaRPr lang="en-US"/>
        </a:p>
      </dgm:t>
    </dgm:pt>
    <dgm:pt modelId="{2183D99B-FFE8-47CF-9475-FB63E1FC1194}" type="parTrans" cxnId="{02C261F0-6846-45CA-9424-4536A7C02F1B}">
      <dgm:prSet/>
      <dgm:spPr/>
      <dgm:t>
        <a:bodyPr/>
        <a:lstStyle/>
        <a:p>
          <a:endParaRPr lang="en-US"/>
        </a:p>
      </dgm:t>
    </dgm:pt>
    <dgm:pt modelId="{197BF32C-A8A6-49C0-980D-1144E0CCBD5A}" type="sibTrans" cxnId="{02C261F0-6846-45CA-9424-4536A7C02F1B}">
      <dgm:prSet/>
      <dgm:spPr/>
      <dgm:t>
        <a:bodyPr/>
        <a:lstStyle/>
        <a:p>
          <a:endParaRPr lang="en-US"/>
        </a:p>
      </dgm:t>
    </dgm:pt>
    <dgm:pt modelId="{4E9DBD29-4797-4381-B678-98A3C4FF6296}">
      <dgm:prSet/>
      <dgm:spPr>
        <a:effectLst>
          <a:reflection blurRad="6350" stA="50000" endA="300" endPos="38500" dist="50800" dir="5400000" sy="-100000" algn="bl" rotWithShape="0"/>
        </a:effectLst>
        <a:scene3d>
          <a:camera prst="orthographicFront"/>
          <a:lightRig rig="threePt" dir="t"/>
        </a:scene3d>
        <a:sp3d>
          <a:bevelT prst="angle"/>
        </a:sp3d>
      </dgm:spPr>
      <dgm:t>
        <a:bodyPr/>
        <a:lstStyle/>
        <a:p>
          <a:r>
            <a:rPr lang="en-US" baseline="0"/>
            <a:t>Using stats</a:t>
          </a:r>
          <a:endParaRPr lang="en-US"/>
        </a:p>
      </dgm:t>
    </dgm:pt>
    <dgm:pt modelId="{142580DF-9F1F-4461-95AC-9BC60D300B2F}" type="parTrans" cxnId="{B4F13336-277F-456A-8822-6A5377CB19EA}">
      <dgm:prSet/>
      <dgm:spPr/>
      <dgm:t>
        <a:bodyPr/>
        <a:lstStyle/>
        <a:p>
          <a:endParaRPr lang="en-US"/>
        </a:p>
      </dgm:t>
    </dgm:pt>
    <dgm:pt modelId="{DD93F002-A35B-48B2-82C9-F619F4071587}" type="sibTrans" cxnId="{B4F13336-277F-456A-8822-6A5377CB19EA}">
      <dgm:prSet/>
      <dgm:spPr/>
      <dgm:t>
        <a:bodyPr/>
        <a:lstStyle/>
        <a:p>
          <a:endParaRPr lang="en-US"/>
        </a:p>
      </dgm:t>
    </dgm:pt>
    <dgm:pt modelId="{4751093A-13CC-4F82-9B90-94CEF3015A3D}" type="pres">
      <dgm:prSet presAssocID="{6985183A-17AC-4A94-8AF8-C3EE02C7FEAF}" presName="diagram" presStyleCnt="0">
        <dgm:presLayoutVars>
          <dgm:dir/>
          <dgm:resizeHandles val="exact"/>
        </dgm:presLayoutVars>
      </dgm:prSet>
      <dgm:spPr/>
    </dgm:pt>
    <dgm:pt modelId="{AE82E00F-CE6B-4B67-924D-3955A6698159}" type="pres">
      <dgm:prSet presAssocID="{88F21687-CBB2-4F34-AD57-5451A4CCDEBC}" presName="node" presStyleLbl="node1" presStyleIdx="0" presStyleCnt="8">
        <dgm:presLayoutVars>
          <dgm:bulletEnabled val="1"/>
        </dgm:presLayoutVars>
      </dgm:prSet>
      <dgm:spPr/>
    </dgm:pt>
    <dgm:pt modelId="{89588C51-7486-41A4-85B1-1E6DDF3CDD36}" type="pres">
      <dgm:prSet presAssocID="{FBF1A830-5AD6-45E1-B3A4-7FC4A6F057C7}" presName="sibTrans" presStyleCnt="0"/>
      <dgm:spPr/>
    </dgm:pt>
    <dgm:pt modelId="{38DFD838-5F4A-4023-8468-7ADBBE6F6AFD}" type="pres">
      <dgm:prSet presAssocID="{C04FEE50-81F6-493B-AC85-B34EEF0D5B1F}" presName="node" presStyleLbl="node1" presStyleIdx="1" presStyleCnt="8">
        <dgm:presLayoutVars>
          <dgm:bulletEnabled val="1"/>
        </dgm:presLayoutVars>
      </dgm:prSet>
      <dgm:spPr/>
    </dgm:pt>
    <dgm:pt modelId="{3A8B401F-8A59-4F66-8C65-9118880B5B0D}" type="pres">
      <dgm:prSet presAssocID="{52D06645-7F5D-4BB0-91F3-FCB0B83ED24C}" presName="sibTrans" presStyleCnt="0"/>
      <dgm:spPr/>
    </dgm:pt>
    <dgm:pt modelId="{F3BEFFAC-56B0-4651-933D-B23EEF7D7ACA}" type="pres">
      <dgm:prSet presAssocID="{BAD97166-872A-4501-AFA4-A4AB917B3557}" presName="node" presStyleLbl="node1" presStyleIdx="2" presStyleCnt="8">
        <dgm:presLayoutVars>
          <dgm:bulletEnabled val="1"/>
        </dgm:presLayoutVars>
      </dgm:prSet>
      <dgm:spPr/>
    </dgm:pt>
    <dgm:pt modelId="{2D0ED08E-F082-477E-A191-AC2EDB9062D2}" type="pres">
      <dgm:prSet presAssocID="{7EE3897D-FB20-42F4-A533-4E6E8BE19494}" presName="sibTrans" presStyleCnt="0"/>
      <dgm:spPr/>
    </dgm:pt>
    <dgm:pt modelId="{C5279A0F-85C6-4851-9B79-3118EE689E5B}" type="pres">
      <dgm:prSet presAssocID="{F2BCF7B2-3FEF-454A-A861-8D264FB2E99B}" presName="node" presStyleLbl="node1" presStyleIdx="3" presStyleCnt="8">
        <dgm:presLayoutVars>
          <dgm:bulletEnabled val="1"/>
        </dgm:presLayoutVars>
      </dgm:prSet>
      <dgm:spPr/>
    </dgm:pt>
    <dgm:pt modelId="{F994670D-01AE-4429-B09E-16270A030379}" type="pres">
      <dgm:prSet presAssocID="{A163383D-1844-434A-8BD7-F883D063858B}" presName="sibTrans" presStyleCnt="0"/>
      <dgm:spPr/>
    </dgm:pt>
    <dgm:pt modelId="{B01EF7F8-3756-4489-BFDD-B7A14FDFBDF6}" type="pres">
      <dgm:prSet presAssocID="{824B9F55-4AC3-46E9-B7A9-D59F004F4FFA}" presName="node" presStyleLbl="node1" presStyleIdx="4" presStyleCnt="8">
        <dgm:presLayoutVars>
          <dgm:bulletEnabled val="1"/>
        </dgm:presLayoutVars>
      </dgm:prSet>
      <dgm:spPr/>
    </dgm:pt>
    <dgm:pt modelId="{74F4A74E-DB28-426C-9FF7-50016C90185D}" type="pres">
      <dgm:prSet presAssocID="{9DFBEE94-520E-4A84-8667-5D5D98131B1A}" presName="sibTrans" presStyleCnt="0"/>
      <dgm:spPr/>
    </dgm:pt>
    <dgm:pt modelId="{451F798B-3B4B-4534-9C1B-3C503B9AF131}" type="pres">
      <dgm:prSet presAssocID="{5879A6B7-425D-4ECE-8CD2-85308B201437}" presName="node" presStyleLbl="node1" presStyleIdx="5" presStyleCnt="8">
        <dgm:presLayoutVars>
          <dgm:bulletEnabled val="1"/>
        </dgm:presLayoutVars>
      </dgm:prSet>
      <dgm:spPr/>
    </dgm:pt>
    <dgm:pt modelId="{1DAC56BA-C26C-44AF-ACEC-457922401D9A}" type="pres">
      <dgm:prSet presAssocID="{03A7D693-5CC2-4D02-A202-FCE300A884AE}" presName="sibTrans" presStyleCnt="0"/>
      <dgm:spPr/>
    </dgm:pt>
    <dgm:pt modelId="{4DCFEB86-FC71-41E2-BA51-AD3FD9653083}" type="pres">
      <dgm:prSet presAssocID="{FCC8AAB1-27B4-4B0C-B38B-CD8CB54DE384}" presName="node" presStyleLbl="node1" presStyleIdx="6" presStyleCnt="8">
        <dgm:presLayoutVars>
          <dgm:bulletEnabled val="1"/>
        </dgm:presLayoutVars>
      </dgm:prSet>
      <dgm:spPr/>
    </dgm:pt>
    <dgm:pt modelId="{21D5E072-0FB7-4404-848A-5AC750A6FEE2}" type="pres">
      <dgm:prSet presAssocID="{197BF32C-A8A6-49C0-980D-1144E0CCBD5A}" presName="sibTrans" presStyleCnt="0"/>
      <dgm:spPr/>
    </dgm:pt>
    <dgm:pt modelId="{879A1536-E7B3-4E7D-BED3-857E9C56E413}" type="pres">
      <dgm:prSet presAssocID="{4E9DBD29-4797-4381-B678-98A3C4FF6296}" presName="node" presStyleLbl="node1" presStyleIdx="7" presStyleCnt="8">
        <dgm:presLayoutVars>
          <dgm:bulletEnabled val="1"/>
        </dgm:presLayoutVars>
      </dgm:prSet>
      <dgm:spPr/>
    </dgm:pt>
  </dgm:ptLst>
  <dgm:cxnLst>
    <dgm:cxn modelId="{57BE8A01-91A6-47EE-A14A-5CC771CE15FC}" type="presOf" srcId="{4E9DBD29-4797-4381-B678-98A3C4FF6296}" destId="{879A1536-E7B3-4E7D-BED3-857E9C56E413}" srcOrd="0" destOrd="0" presId="urn:microsoft.com/office/officeart/2005/8/layout/default"/>
    <dgm:cxn modelId="{C4734A1E-E7A8-4D6E-8134-2A340D0DA187}" type="presOf" srcId="{824B9F55-4AC3-46E9-B7A9-D59F004F4FFA}" destId="{B01EF7F8-3756-4489-BFDD-B7A14FDFBDF6}" srcOrd="0" destOrd="0" presId="urn:microsoft.com/office/officeart/2005/8/layout/default"/>
    <dgm:cxn modelId="{A9B54421-EA5D-483A-8700-619502D0FDB8}" srcId="{6985183A-17AC-4A94-8AF8-C3EE02C7FEAF}" destId="{824B9F55-4AC3-46E9-B7A9-D59F004F4FFA}" srcOrd="4" destOrd="0" parTransId="{648D0083-9E9F-47B2-AB85-42AEF19E74C5}" sibTransId="{9DFBEE94-520E-4A84-8667-5D5D98131B1A}"/>
    <dgm:cxn modelId="{A407772C-7354-464F-B063-14BC90193952}" type="presOf" srcId="{88F21687-CBB2-4F34-AD57-5451A4CCDEBC}" destId="{AE82E00F-CE6B-4B67-924D-3955A6698159}" srcOrd="0" destOrd="0" presId="urn:microsoft.com/office/officeart/2005/8/layout/default"/>
    <dgm:cxn modelId="{381CE72F-E686-4EDC-A74E-2236150B38B2}" type="presOf" srcId="{FCC8AAB1-27B4-4B0C-B38B-CD8CB54DE384}" destId="{4DCFEB86-FC71-41E2-BA51-AD3FD9653083}" srcOrd="0" destOrd="0" presId="urn:microsoft.com/office/officeart/2005/8/layout/default"/>
    <dgm:cxn modelId="{B4F13336-277F-456A-8822-6A5377CB19EA}" srcId="{6985183A-17AC-4A94-8AF8-C3EE02C7FEAF}" destId="{4E9DBD29-4797-4381-B678-98A3C4FF6296}" srcOrd="7" destOrd="0" parTransId="{142580DF-9F1F-4461-95AC-9BC60D300B2F}" sibTransId="{DD93F002-A35B-48B2-82C9-F619F4071587}"/>
    <dgm:cxn modelId="{03ACB438-C458-457A-84B3-E4695E4AD60D}" srcId="{6985183A-17AC-4A94-8AF8-C3EE02C7FEAF}" destId="{5879A6B7-425D-4ECE-8CD2-85308B201437}" srcOrd="5" destOrd="0" parTransId="{F12E6B77-2B0A-4AB2-9B4B-5630E136A8AA}" sibTransId="{03A7D693-5CC2-4D02-A202-FCE300A884AE}"/>
    <dgm:cxn modelId="{F9970275-12AA-4267-808D-1AABCAD30086}" srcId="{6985183A-17AC-4A94-8AF8-C3EE02C7FEAF}" destId="{88F21687-CBB2-4F34-AD57-5451A4CCDEBC}" srcOrd="0" destOrd="0" parTransId="{52235E93-5DFD-4C36-9951-72E311EEDDBB}" sibTransId="{FBF1A830-5AD6-45E1-B3A4-7FC4A6F057C7}"/>
    <dgm:cxn modelId="{DE54B556-3A7A-41B8-8557-325CF08AE58E}" type="presOf" srcId="{6985183A-17AC-4A94-8AF8-C3EE02C7FEAF}" destId="{4751093A-13CC-4F82-9B90-94CEF3015A3D}" srcOrd="0" destOrd="0" presId="urn:microsoft.com/office/officeart/2005/8/layout/default"/>
    <dgm:cxn modelId="{6E23C088-35B9-4ACD-A9BB-D8F1B9158EFD}" srcId="{6985183A-17AC-4A94-8AF8-C3EE02C7FEAF}" destId="{BAD97166-872A-4501-AFA4-A4AB917B3557}" srcOrd="2" destOrd="0" parTransId="{468B98F7-914F-476A-9E6C-C08D1CD2F9D5}" sibTransId="{7EE3897D-FB20-42F4-A533-4E6E8BE19494}"/>
    <dgm:cxn modelId="{4984E58E-B48E-49D8-8307-17B51ECAD08C}" type="presOf" srcId="{5879A6B7-425D-4ECE-8CD2-85308B201437}" destId="{451F798B-3B4B-4534-9C1B-3C503B9AF131}" srcOrd="0" destOrd="0" presId="urn:microsoft.com/office/officeart/2005/8/layout/default"/>
    <dgm:cxn modelId="{3160C494-88D8-480D-BFBA-673CEB57FAED}" type="presOf" srcId="{C04FEE50-81F6-493B-AC85-B34EEF0D5B1F}" destId="{38DFD838-5F4A-4023-8468-7ADBBE6F6AFD}" srcOrd="0" destOrd="0" presId="urn:microsoft.com/office/officeart/2005/8/layout/default"/>
    <dgm:cxn modelId="{8A0059A0-B796-43EA-A0EA-964B425AE4FB}" srcId="{6985183A-17AC-4A94-8AF8-C3EE02C7FEAF}" destId="{C04FEE50-81F6-493B-AC85-B34EEF0D5B1F}" srcOrd="1" destOrd="0" parTransId="{0CA18425-A419-408A-8833-45CB087672A2}" sibTransId="{52D06645-7F5D-4BB0-91F3-FCB0B83ED24C}"/>
    <dgm:cxn modelId="{E68EB4A8-8955-4A73-8457-0090AAE2DB60}" type="presOf" srcId="{BAD97166-872A-4501-AFA4-A4AB917B3557}" destId="{F3BEFFAC-56B0-4651-933D-B23EEF7D7ACA}" srcOrd="0" destOrd="0" presId="urn:microsoft.com/office/officeart/2005/8/layout/default"/>
    <dgm:cxn modelId="{6CB47CB4-1650-4984-8E07-668058DFDA68}" type="presOf" srcId="{F2BCF7B2-3FEF-454A-A861-8D264FB2E99B}" destId="{C5279A0F-85C6-4851-9B79-3118EE689E5B}" srcOrd="0" destOrd="0" presId="urn:microsoft.com/office/officeart/2005/8/layout/default"/>
    <dgm:cxn modelId="{4806E8B4-BB44-4903-A9A5-6FED25652535}" srcId="{6985183A-17AC-4A94-8AF8-C3EE02C7FEAF}" destId="{F2BCF7B2-3FEF-454A-A861-8D264FB2E99B}" srcOrd="3" destOrd="0" parTransId="{D8E4415E-4CF9-4BFC-AB4F-F8B2F9342A17}" sibTransId="{A163383D-1844-434A-8BD7-F883D063858B}"/>
    <dgm:cxn modelId="{02C261F0-6846-45CA-9424-4536A7C02F1B}" srcId="{6985183A-17AC-4A94-8AF8-C3EE02C7FEAF}" destId="{FCC8AAB1-27B4-4B0C-B38B-CD8CB54DE384}" srcOrd="6" destOrd="0" parTransId="{2183D99B-FFE8-47CF-9475-FB63E1FC1194}" sibTransId="{197BF32C-A8A6-49C0-980D-1144E0CCBD5A}"/>
    <dgm:cxn modelId="{1A5BBAD1-17EA-453F-A98A-DE975CFB414A}" type="presParOf" srcId="{4751093A-13CC-4F82-9B90-94CEF3015A3D}" destId="{AE82E00F-CE6B-4B67-924D-3955A6698159}" srcOrd="0" destOrd="0" presId="urn:microsoft.com/office/officeart/2005/8/layout/default"/>
    <dgm:cxn modelId="{4577AA46-1652-4FE5-BF5D-88B6EE964BB3}" type="presParOf" srcId="{4751093A-13CC-4F82-9B90-94CEF3015A3D}" destId="{89588C51-7486-41A4-85B1-1E6DDF3CDD36}" srcOrd="1" destOrd="0" presId="urn:microsoft.com/office/officeart/2005/8/layout/default"/>
    <dgm:cxn modelId="{D00DEB35-6A81-4C92-99B0-8F6A0A5B37B4}" type="presParOf" srcId="{4751093A-13CC-4F82-9B90-94CEF3015A3D}" destId="{38DFD838-5F4A-4023-8468-7ADBBE6F6AFD}" srcOrd="2" destOrd="0" presId="urn:microsoft.com/office/officeart/2005/8/layout/default"/>
    <dgm:cxn modelId="{5A484B3D-8963-4811-860E-8E6068E4B4C0}" type="presParOf" srcId="{4751093A-13CC-4F82-9B90-94CEF3015A3D}" destId="{3A8B401F-8A59-4F66-8C65-9118880B5B0D}" srcOrd="3" destOrd="0" presId="urn:microsoft.com/office/officeart/2005/8/layout/default"/>
    <dgm:cxn modelId="{0AF076DE-066F-48CD-BF7E-959B34B03405}" type="presParOf" srcId="{4751093A-13CC-4F82-9B90-94CEF3015A3D}" destId="{F3BEFFAC-56B0-4651-933D-B23EEF7D7ACA}" srcOrd="4" destOrd="0" presId="urn:microsoft.com/office/officeart/2005/8/layout/default"/>
    <dgm:cxn modelId="{5D5E0B51-2442-4D7C-81EA-52BFC60AED7A}" type="presParOf" srcId="{4751093A-13CC-4F82-9B90-94CEF3015A3D}" destId="{2D0ED08E-F082-477E-A191-AC2EDB9062D2}" srcOrd="5" destOrd="0" presId="urn:microsoft.com/office/officeart/2005/8/layout/default"/>
    <dgm:cxn modelId="{6E11D23B-74FE-4AFC-948C-F75749B65FF0}" type="presParOf" srcId="{4751093A-13CC-4F82-9B90-94CEF3015A3D}" destId="{C5279A0F-85C6-4851-9B79-3118EE689E5B}" srcOrd="6" destOrd="0" presId="urn:microsoft.com/office/officeart/2005/8/layout/default"/>
    <dgm:cxn modelId="{2C5E5121-3649-46AE-8D5D-6A8D6A4C35CE}" type="presParOf" srcId="{4751093A-13CC-4F82-9B90-94CEF3015A3D}" destId="{F994670D-01AE-4429-B09E-16270A030379}" srcOrd="7" destOrd="0" presId="urn:microsoft.com/office/officeart/2005/8/layout/default"/>
    <dgm:cxn modelId="{00DADB76-8C46-4833-9EA6-E95A75B56B22}" type="presParOf" srcId="{4751093A-13CC-4F82-9B90-94CEF3015A3D}" destId="{B01EF7F8-3756-4489-BFDD-B7A14FDFBDF6}" srcOrd="8" destOrd="0" presId="urn:microsoft.com/office/officeart/2005/8/layout/default"/>
    <dgm:cxn modelId="{AEB7BE50-DE38-40A4-95A8-3E5AEA45E20A}" type="presParOf" srcId="{4751093A-13CC-4F82-9B90-94CEF3015A3D}" destId="{74F4A74E-DB28-426C-9FF7-50016C90185D}" srcOrd="9" destOrd="0" presId="urn:microsoft.com/office/officeart/2005/8/layout/default"/>
    <dgm:cxn modelId="{9EE0D612-833D-4150-A117-EF37F8CDEA9A}" type="presParOf" srcId="{4751093A-13CC-4F82-9B90-94CEF3015A3D}" destId="{451F798B-3B4B-4534-9C1B-3C503B9AF131}" srcOrd="10" destOrd="0" presId="urn:microsoft.com/office/officeart/2005/8/layout/default"/>
    <dgm:cxn modelId="{E748851E-04CE-4FA3-8BFD-EAB1CAAA9B21}" type="presParOf" srcId="{4751093A-13CC-4F82-9B90-94CEF3015A3D}" destId="{1DAC56BA-C26C-44AF-ACEC-457922401D9A}" srcOrd="11" destOrd="0" presId="urn:microsoft.com/office/officeart/2005/8/layout/default"/>
    <dgm:cxn modelId="{DCACD87F-B013-4B69-A770-A754495BBF78}" type="presParOf" srcId="{4751093A-13CC-4F82-9B90-94CEF3015A3D}" destId="{4DCFEB86-FC71-41E2-BA51-AD3FD9653083}" srcOrd="12" destOrd="0" presId="urn:microsoft.com/office/officeart/2005/8/layout/default"/>
    <dgm:cxn modelId="{18C0EF23-E9E8-4507-B6D8-920BE3F978AB}" type="presParOf" srcId="{4751093A-13CC-4F82-9B90-94CEF3015A3D}" destId="{21D5E072-0FB7-4404-848A-5AC750A6FEE2}" srcOrd="13" destOrd="0" presId="urn:microsoft.com/office/officeart/2005/8/layout/default"/>
    <dgm:cxn modelId="{258D530A-A67C-4235-A37C-B6AAF586DB62}" type="presParOf" srcId="{4751093A-13CC-4F82-9B90-94CEF3015A3D}" destId="{879A1536-E7B3-4E7D-BED3-857E9C56E413}"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C35582-902E-42C4-B0FD-DD5F1CBF6483}">
      <dsp:nvSpPr>
        <dsp:cNvPr id="0" name=""/>
        <dsp:cNvSpPr/>
      </dsp:nvSpPr>
      <dsp:spPr>
        <a:xfrm>
          <a:off x="2359" y="498909"/>
          <a:ext cx="4706203" cy="3477866"/>
        </a:xfrm>
        <a:prstGeom prst="rect">
          <a:avLst/>
        </a:prstGeom>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l="454" t="17135" r="454" b="17135"/>
          </a:stretch>
        </a:blipFill>
        <a:ln>
          <a:noFill/>
        </a:ln>
        <a:effectLst/>
      </dsp:spPr>
      <dsp:style>
        <a:lnRef idx="0">
          <a:scrgbClr r="0" g="0" b="0"/>
        </a:lnRef>
        <a:fillRef idx="1">
          <a:scrgbClr r="0" g="0" b="0"/>
        </a:fillRef>
        <a:effectRef idx="0">
          <a:scrgbClr r="0" g="0" b="0"/>
        </a:effectRef>
        <a:fontRef idx="minor"/>
      </dsp:style>
    </dsp:sp>
    <dsp:sp modelId="{EFCF1840-0DA0-40EE-A31F-EACB40CCDC3F}">
      <dsp:nvSpPr>
        <dsp:cNvPr id="0" name=""/>
        <dsp:cNvSpPr/>
      </dsp:nvSpPr>
      <dsp:spPr>
        <a:xfrm>
          <a:off x="953612" y="3346173"/>
          <a:ext cx="4055345" cy="97456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a:reflection blurRad="6350" stA="50000" endA="275" endPos="40000" dist="101600" dir="5400000" sy="-100000" algn="bl" rotWithShape="0"/>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97155" tIns="97155" rIns="97155" bIns="97155" numCol="1" spcCol="1270" anchor="ctr" anchorCtr="0">
          <a:noAutofit/>
        </a:bodyPr>
        <a:lstStyle/>
        <a:p>
          <a:pPr marL="0" lvl="0" indent="0" algn="ctr" defTabSz="2266950">
            <a:lnSpc>
              <a:spcPct val="90000"/>
            </a:lnSpc>
            <a:spcBef>
              <a:spcPct val="0"/>
            </a:spcBef>
            <a:spcAft>
              <a:spcPct val="5000"/>
            </a:spcAft>
            <a:buNone/>
          </a:pPr>
          <a:r>
            <a:rPr lang="en-US" sz="5100" kern="1200" dirty="0"/>
            <a:t>ELT</a:t>
          </a:r>
        </a:p>
      </dsp:txBody>
      <dsp:txXfrm>
        <a:off x="953612" y="3346173"/>
        <a:ext cx="4055345" cy="974567"/>
      </dsp:txXfrm>
    </dsp:sp>
    <dsp:sp modelId="{C43D8AEC-8C80-41A3-9CDA-5BE8A289FE3C}">
      <dsp:nvSpPr>
        <dsp:cNvPr id="0" name=""/>
        <dsp:cNvSpPr/>
      </dsp:nvSpPr>
      <dsp:spPr>
        <a:xfrm>
          <a:off x="5871766" y="498909"/>
          <a:ext cx="4706203" cy="3477866"/>
        </a:xfrm>
        <a:prstGeom prst="rect">
          <a:avLst/>
        </a:prstGeom>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l="454" t="17135" r="454" b="17135"/>
          </a:stretch>
        </a:blipFill>
        <a:ln>
          <a:noFill/>
        </a:ln>
        <a:effectLst/>
      </dsp:spPr>
      <dsp:style>
        <a:lnRef idx="0">
          <a:scrgbClr r="0" g="0" b="0"/>
        </a:lnRef>
        <a:fillRef idx="1">
          <a:scrgbClr r="0" g="0" b="0"/>
        </a:fillRef>
        <a:effectRef idx="0">
          <a:scrgbClr r="0" g="0" b="0"/>
        </a:effectRef>
        <a:fontRef idx="minor"/>
      </dsp:style>
    </dsp:sp>
    <dsp:sp modelId="{77AE656D-904D-49F7-B8BA-D7214BE87E14}">
      <dsp:nvSpPr>
        <dsp:cNvPr id="0" name=""/>
        <dsp:cNvSpPr/>
      </dsp:nvSpPr>
      <dsp:spPr>
        <a:xfrm>
          <a:off x="6823020" y="3346173"/>
          <a:ext cx="4055345" cy="97456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a:reflection blurRad="6350" stA="50000" endA="275" endPos="40000" dist="101600" dir="5400000" sy="-100000" algn="bl" rotWithShape="0"/>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97155" tIns="97155" rIns="97155" bIns="97155" numCol="1" spcCol="1270" anchor="ctr" anchorCtr="0">
          <a:noAutofit/>
        </a:bodyPr>
        <a:lstStyle/>
        <a:p>
          <a:pPr marL="0" lvl="0" indent="0" algn="ctr" defTabSz="2266950">
            <a:lnSpc>
              <a:spcPct val="90000"/>
            </a:lnSpc>
            <a:spcBef>
              <a:spcPct val="0"/>
            </a:spcBef>
            <a:spcAft>
              <a:spcPct val="5000"/>
            </a:spcAft>
            <a:buNone/>
          </a:pPr>
          <a:r>
            <a:rPr lang="en-US" sz="5100" kern="1200" dirty="0"/>
            <a:t>ETL</a:t>
          </a:r>
        </a:p>
      </dsp:txBody>
      <dsp:txXfrm>
        <a:off x="6823020" y="3346173"/>
        <a:ext cx="4055345" cy="97456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16410C-7FB7-415F-8FBE-33AC94BC4800}">
      <dsp:nvSpPr>
        <dsp:cNvPr id="0" name=""/>
        <dsp:cNvSpPr/>
      </dsp:nvSpPr>
      <dsp:spPr>
        <a:xfrm>
          <a:off x="695113" y="767324"/>
          <a:ext cx="1955812" cy="1955812"/>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5C37234-FAF9-43C2-92C9-03D873CF52A4}">
      <dsp:nvSpPr>
        <dsp:cNvPr id="0" name=""/>
        <dsp:cNvSpPr/>
      </dsp:nvSpPr>
      <dsp:spPr>
        <a:xfrm>
          <a:off x="1111925" y="1184137"/>
          <a:ext cx="1122187" cy="112218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96DFAC-1159-41F4-8348-BF1D5C49968E}">
      <dsp:nvSpPr>
        <dsp:cNvPr id="0" name=""/>
        <dsp:cNvSpPr/>
      </dsp:nvSpPr>
      <dsp:spPr>
        <a:xfrm>
          <a:off x="69894" y="3332325"/>
          <a:ext cx="32062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dirty="0"/>
            <a:t>Minimize Latency</a:t>
          </a:r>
        </a:p>
      </dsp:txBody>
      <dsp:txXfrm>
        <a:off x="69894" y="3332325"/>
        <a:ext cx="3206250" cy="720000"/>
      </dsp:txXfrm>
    </dsp:sp>
    <dsp:sp modelId="{CED5A79C-E3EB-4C00-B51C-FB2608A7D8D9}">
      <dsp:nvSpPr>
        <dsp:cNvPr id="0" name=""/>
        <dsp:cNvSpPr/>
      </dsp:nvSpPr>
      <dsp:spPr>
        <a:xfrm>
          <a:off x="4462456" y="767324"/>
          <a:ext cx="1955812" cy="1955812"/>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8264EC6-1F91-40C2-8D6D-6AA7787CEE6B}">
      <dsp:nvSpPr>
        <dsp:cNvPr id="0" name=""/>
        <dsp:cNvSpPr/>
      </dsp:nvSpPr>
      <dsp:spPr>
        <a:xfrm>
          <a:off x="4879269" y="1184137"/>
          <a:ext cx="1122187" cy="1122187"/>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1BC66BC-1AEA-4E0F-BC52-151E97EC5403}">
      <dsp:nvSpPr>
        <dsp:cNvPr id="0" name=""/>
        <dsp:cNvSpPr/>
      </dsp:nvSpPr>
      <dsp:spPr>
        <a:xfrm>
          <a:off x="3837238" y="3332325"/>
          <a:ext cx="32062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dirty="0"/>
            <a:t>Load using Compressed Files</a:t>
          </a:r>
        </a:p>
      </dsp:txBody>
      <dsp:txXfrm>
        <a:off x="3837238" y="3332325"/>
        <a:ext cx="3206250" cy="720000"/>
      </dsp:txXfrm>
    </dsp:sp>
    <dsp:sp modelId="{4AE3D926-6F97-465E-928F-016682FAB006}">
      <dsp:nvSpPr>
        <dsp:cNvPr id="0" name=""/>
        <dsp:cNvSpPr/>
      </dsp:nvSpPr>
      <dsp:spPr>
        <a:xfrm>
          <a:off x="8229800" y="767324"/>
          <a:ext cx="1955812" cy="1955812"/>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9027C61-2662-4A87-B825-27A725B3DEB2}">
      <dsp:nvSpPr>
        <dsp:cNvPr id="0" name=""/>
        <dsp:cNvSpPr/>
      </dsp:nvSpPr>
      <dsp:spPr>
        <a:xfrm>
          <a:off x="8646613" y="1184137"/>
          <a:ext cx="1122187" cy="1122187"/>
        </a:xfrm>
        <a:prstGeom prst="rect">
          <a:avLst/>
        </a:prstGeom>
        <a:blipFill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A10F60-C9AB-4733-A0FD-4946CF45BA7D}">
      <dsp:nvSpPr>
        <dsp:cNvPr id="0" name=""/>
        <dsp:cNvSpPr/>
      </dsp:nvSpPr>
      <dsp:spPr>
        <a:xfrm>
          <a:off x="7604581" y="3332325"/>
          <a:ext cx="32062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dirty="0"/>
            <a:t>Split Large Files Matching Readers</a:t>
          </a:r>
        </a:p>
      </dsp:txBody>
      <dsp:txXfrm>
        <a:off x="7604581" y="3332325"/>
        <a:ext cx="3206250" cy="72000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B13C76-C853-4688-A4A6-9612D91E67CA}">
      <dsp:nvSpPr>
        <dsp:cNvPr id="0" name=""/>
        <dsp:cNvSpPr/>
      </dsp:nvSpPr>
      <dsp:spPr>
        <a:xfrm>
          <a:off x="695113" y="767324"/>
          <a:ext cx="1955812" cy="1955812"/>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5B4E9A0-937A-4362-9E35-860FB6FBB5A4}">
      <dsp:nvSpPr>
        <dsp:cNvPr id="0" name=""/>
        <dsp:cNvSpPr/>
      </dsp:nvSpPr>
      <dsp:spPr>
        <a:xfrm>
          <a:off x="1111925" y="1184137"/>
          <a:ext cx="1122187" cy="112218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77B9753-37D6-4AD1-A8FD-0A86442E1D9B}">
      <dsp:nvSpPr>
        <dsp:cNvPr id="0" name=""/>
        <dsp:cNvSpPr/>
      </dsp:nvSpPr>
      <dsp:spPr>
        <a:xfrm>
          <a:off x="69894" y="3332325"/>
          <a:ext cx="32062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dirty="0"/>
            <a:t>Minimize Parallel Loads</a:t>
          </a:r>
        </a:p>
      </dsp:txBody>
      <dsp:txXfrm>
        <a:off x="69894" y="3332325"/>
        <a:ext cx="3206250" cy="720000"/>
      </dsp:txXfrm>
    </dsp:sp>
    <dsp:sp modelId="{0B578F9D-349D-449F-98EA-6D1445C2D350}">
      <dsp:nvSpPr>
        <dsp:cNvPr id="0" name=""/>
        <dsp:cNvSpPr/>
      </dsp:nvSpPr>
      <dsp:spPr>
        <a:xfrm>
          <a:off x="4462456" y="767324"/>
          <a:ext cx="1955812" cy="1955812"/>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F420531-5049-40D1-BFCF-5043147C7DAA}">
      <dsp:nvSpPr>
        <dsp:cNvPr id="0" name=""/>
        <dsp:cNvSpPr/>
      </dsp:nvSpPr>
      <dsp:spPr>
        <a:xfrm>
          <a:off x="4879269" y="1184137"/>
          <a:ext cx="1122187" cy="1122187"/>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445B2C-CF8F-4860-B99F-E97A6A9F0AF8}">
      <dsp:nvSpPr>
        <dsp:cNvPr id="0" name=""/>
        <dsp:cNvSpPr/>
      </dsp:nvSpPr>
      <dsp:spPr>
        <a:xfrm>
          <a:off x="3837238" y="3332325"/>
          <a:ext cx="32062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dirty="0"/>
            <a:t>Scale up for Parallel Loadings when Needed</a:t>
          </a:r>
        </a:p>
      </dsp:txBody>
      <dsp:txXfrm>
        <a:off x="3837238" y="3332325"/>
        <a:ext cx="3206250" cy="720000"/>
      </dsp:txXfrm>
    </dsp:sp>
    <dsp:sp modelId="{8D40A817-117D-44AF-BC80-8609CA7DB7C1}">
      <dsp:nvSpPr>
        <dsp:cNvPr id="0" name=""/>
        <dsp:cNvSpPr/>
      </dsp:nvSpPr>
      <dsp:spPr>
        <a:xfrm>
          <a:off x="8229800" y="767324"/>
          <a:ext cx="1955812" cy="1955812"/>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7123427-27D1-42CB-BD87-D4264F756167}">
      <dsp:nvSpPr>
        <dsp:cNvPr id="0" name=""/>
        <dsp:cNvSpPr/>
      </dsp:nvSpPr>
      <dsp:spPr>
        <a:xfrm>
          <a:off x="8646613" y="1184137"/>
          <a:ext cx="1122187" cy="1122187"/>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666288-6236-4BD5-91FE-90EC0A0A4A57}">
      <dsp:nvSpPr>
        <dsp:cNvPr id="0" name=""/>
        <dsp:cNvSpPr/>
      </dsp:nvSpPr>
      <dsp:spPr>
        <a:xfrm>
          <a:off x="7604581" y="3332325"/>
          <a:ext cx="32062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dirty="0"/>
            <a:t>Grant Enough Resource for Loads</a:t>
          </a:r>
        </a:p>
      </dsp:txBody>
      <dsp:txXfrm>
        <a:off x="7604581" y="3332325"/>
        <a:ext cx="3206250" cy="72000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468D82-51BE-4B00-A108-A0B9E523C5E8}">
      <dsp:nvSpPr>
        <dsp:cNvPr id="0" name=""/>
        <dsp:cNvSpPr/>
      </dsp:nvSpPr>
      <dsp:spPr>
        <a:xfrm>
          <a:off x="2227363" y="609824"/>
          <a:ext cx="2196000" cy="2196000"/>
        </a:xfrm>
        <a:prstGeom prst="ellipse">
          <a:avLst/>
        </a:prstGeom>
        <a:solidFill>
          <a:schemeClr val="accent1">
            <a:tint val="40000"/>
            <a:hueOff val="0"/>
            <a:satOff val="0"/>
            <a:lumOff val="0"/>
            <a:alphaOff val="0"/>
          </a:schemeClr>
        </a:solidFill>
        <a:ln>
          <a:noFill/>
        </a:ln>
        <a:effectLst>
          <a:reflection blurRad="6350" stA="52000" endA="300" endPos="35000" dir="5400000" sy="-100000" algn="bl" rotWithShape="0"/>
        </a:effectLst>
        <a:scene3d>
          <a:camera prst="orthographicFront"/>
          <a:lightRig rig="threePt" dir="t"/>
        </a:scene3d>
        <a:sp3d>
          <a:bevelT prst="angle"/>
        </a:sp3d>
      </dsp:spPr>
      <dsp:style>
        <a:lnRef idx="0">
          <a:scrgbClr r="0" g="0" b="0"/>
        </a:lnRef>
        <a:fillRef idx="1">
          <a:scrgbClr r="0" g="0" b="0"/>
        </a:fillRef>
        <a:effectRef idx="0">
          <a:scrgbClr r="0" g="0" b="0"/>
        </a:effectRef>
        <a:fontRef idx="minor"/>
      </dsp:style>
    </dsp:sp>
    <dsp:sp modelId="{F75CF16F-A86A-4DD7-9B23-3C9CE708CAB7}">
      <dsp:nvSpPr>
        <dsp:cNvPr id="0" name=""/>
        <dsp:cNvSpPr/>
      </dsp:nvSpPr>
      <dsp:spPr>
        <a:xfrm>
          <a:off x="2695363" y="1077824"/>
          <a:ext cx="1260000" cy="126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a:reflection blurRad="6350" stA="52000" endA="300" endPos="35000" dir="5400000" sy="-100000" algn="bl" rotWithShape="0"/>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sp>
    <dsp:sp modelId="{DE0D1487-D62C-4ECE-86DC-DEFDBB7B66EB}">
      <dsp:nvSpPr>
        <dsp:cNvPr id="0" name=""/>
        <dsp:cNvSpPr/>
      </dsp:nvSpPr>
      <dsp:spPr>
        <a:xfrm>
          <a:off x="1525363" y="3489825"/>
          <a:ext cx="36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422400">
            <a:lnSpc>
              <a:spcPct val="100000"/>
            </a:lnSpc>
            <a:spcBef>
              <a:spcPct val="0"/>
            </a:spcBef>
            <a:spcAft>
              <a:spcPct val="35000"/>
            </a:spcAft>
            <a:buNone/>
            <a:defRPr cap="all"/>
          </a:pPr>
          <a:r>
            <a:rPr lang="en-US" sz="3200" kern="1200" cap="none" dirty="0"/>
            <a:t>Control Permissions</a:t>
          </a:r>
        </a:p>
      </dsp:txBody>
      <dsp:txXfrm>
        <a:off x="1525363" y="3489825"/>
        <a:ext cx="3600000" cy="720000"/>
      </dsp:txXfrm>
    </dsp:sp>
    <dsp:sp modelId="{E91E25F1-DD34-4BE6-AEF6-4CCD0CBEA8A0}">
      <dsp:nvSpPr>
        <dsp:cNvPr id="0" name=""/>
        <dsp:cNvSpPr/>
      </dsp:nvSpPr>
      <dsp:spPr>
        <a:xfrm>
          <a:off x="6457363" y="609824"/>
          <a:ext cx="2196000" cy="2196000"/>
        </a:xfrm>
        <a:prstGeom prst="ellipse">
          <a:avLst/>
        </a:prstGeom>
        <a:solidFill>
          <a:schemeClr val="accent1">
            <a:tint val="40000"/>
            <a:hueOff val="0"/>
            <a:satOff val="0"/>
            <a:lumOff val="0"/>
            <a:alphaOff val="0"/>
          </a:schemeClr>
        </a:solidFill>
        <a:ln>
          <a:noFill/>
        </a:ln>
        <a:effectLst>
          <a:reflection blurRad="6350" stA="52000" endA="300" endPos="35000" dir="5400000" sy="-100000" algn="bl" rotWithShape="0"/>
        </a:effectLst>
        <a:scene3d>
          <a:camera prst="orthographicFront"/>
          <a:lightRig rig="threePt" dir="t"/>
        </a:scene3d>
        <a:sp3d>
          <a:bevelT prst="angle"/>
        </a:sp3d>
      </dsp:spPr>
      <dsp:style>
        <a:lnRef idx="0">
          <a:scrgbClr r="0" g="0" b="0"/>
        </a:lnRef>
        <a:fillRef idx="1">
          <a:scrgbClr r="0" g="0" b="0"/>
        </a:fillRef>
        <a:effectRef idx="0">
          <a:scrgbClr r="0" g="0" b="0"/>
        </a:effectRef>
        <a:fontRef idx="minor"/>
      </dsp:style>
    </dsp:sp>
    <dsp:sp modelId="{57D04DB2-CF09-4003-B1D2-5EF0CAEB89FF}">
      <dsp:nvSpPr>
        <dsp:cNvPr id="0" name=""/>
        <dsp:cNvSpPr/>
      </dsp:nvSpPr>
      <dsp:spPr>
        <a:xfrm>
          <a:off x="6925363" y="1077824"/>
          <a:ext cx="1260000" cy="1260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a:reflection blurRad="6350" stA="52000" endA="300" endPos="35000" dir="5400000" sy="-100000" algn="bl" rotWithShape="0"/>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sp>
    <dsp:sp modelId="{4C356286-D988-4EA0-A5FE-F04BF56628F2}">
      <dsp:nvSpPr>
        <dsp:cNvPr id="0" name=""/>
        <dsp:cNvSpPr/>
      </dsp:nvSpPr>
      <dsp:spPr>
        <a:xfrm>
          <a:off x="5755363" y="3489825"/>
          <a:ext cx="36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422400">
            <a:lnSpc>
              <a:spcPct val="100000"/>
            </a:lnSpc>
            <a:spcBef>
              <a:spcPct val="0"/>
            </a:spcBef>
            <a:spcAft>
              <a:spcPct val="35000"/>
            </a:spcAft>
            <a:buNone/>
            <a:defRPr cap="all"/>
          </a:pPr>
          <a:r>
            <a:rPr lang="en-US" sz="3200" kern="1200" cap="none" dirty="0"/>
            <a:t>Control Resources</a:t>
          </a:r>
        </a:p>
      </dsp:txBody>
      <dsp:txXfrm>
        <a:off x="5755363" y="3489825"/>
        <a:ext cx="3600000" cy="72000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BFC20C-FA0B-490A-A218-65D26D90E588}">
      <dsp:nvSpPr>
        <dsp:cNvPr id="0" name=""/>
        <dsp:cNvSpPr/>
      </dsp:nvSpPr>
      <dsp:spPr>
        <a:xfrm>
          <a:off x="0" y="30987"/>
          <a:ext cx="10880725" cy="1827082"/>
        </a:xfrm>
        <a:prstGeom prst="roundRect">
          <a:avLst>
            <a:gd name="adj" fmla="val 10000"/>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US" sz="3600" kern="1200" dirty="0"/>
            <a:t>HEAP and Round-Robin</a:t>
          </a:r>
        </a:p>
        <a:p>
          <a:pPr marL="228600" lvl="1" indent="-228600" algn="l" defTabSz="889000">
            <a:lnSpc>
              <a:spcPct val="90000"/>
            </a:lnSpc>
            <a:spcBef>
              <a:spcPct val="0"/>
            </a:spcBef>
            <a:spcAft>
              <a:spcPct val="15000"/>
            </a:spcAft>
            <a:buChar char="•"/>
          </a:pPr>
          <a:r>
            <a:rPr lang="en-US" sz="2000" kern="1200" dirty="0"/>
            <a:t>Fast load into SQL Pools</a:t>
          </a:r>
        </a:p>
      </dsp:txBody>
      <dsp:txXfrm>
        <a:off x="2358853" y="30987"/>
        <a:ext cx="8521871" cy="1827082"/>
      </dsp:txXfrm>
    </dsp:sp>
    <dsp:sp modelId="{1569CC84-223F-4E7B-ADC1-734AAB3B09C8}">
      <dsp:nvSpPr>
        <dsp:cNvPr id="0" name=""/>
        <dsp:cNvSpPr/>
      </dsp:nvSpPr>
      <dsp:spPr>
        <a:xfrm>
          <a:off x="182708" y="182708"/>
          <a:ext cx="2176145" cy="1461665"/>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24000" b="-2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8D451C6-1038-4F82-8E6E-83473844B0B7}">
      <dsp:nvSpPr>
        <dsp:cNvPr id="0" name=""/>
        <dsp:cNvSpPr/>
      </dsp:nvSpPr>
      <dsp:spPr>
        <a:xfrm>
          <a:off x="0" y="2009790"/>
          <a:ext cx="10880725" cy="1827082"/>
        </a:xfrm>
        <a:prstGeom prst="roundRect">
          <a:avLst>
            <a:gd name="adj" fmla="val 10000"/>
          </a:avLst>
        </a:prstGeom>
        <a:solidFill>
          <a:schemeClr val="accent1">
            <a:shade val="80000"/>
            <a:hueOff val="785154"/>
            <a:satOff val="-42873"/>
            <a:lumOff val="3588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US" sz="3600" kern="1200" dirty="0"/>
            <a:t>Hash Distributed, matching destination</a:t>
          </a:r>
        </a:p>
        <a:p>
          <a:pPr marL="228600" lvl="1" indent="-228600" algn="l" defTabSz="889000">
            <a:lnSpc>
              <a:spcPct val="90000"/>
            </a:lnSpc>
            <a:spcBef>
              <a:spcPct val="0"/>
            </a:spcBef>
            <a:spcAft>
              <a:spcPct val="15000"/>
            </a:spcAft>
            <a:buChar char="•"/>
          </a:pPr>
          <a:r>
            <a:rPr lang="en-US" sz="2000" kern="1200" dirty="0"/>
            <a:t>Can improve insert into production</a:t>
          </a:r>
        </a:p>
        <a:p>
          <a:pPr marL="228600" lvl="1" indent="-228600" algn="l" defTabSz="889000">
            <a:lnSpc>
              <a:spcPct val="90000"/>
            </a:lnSpc>
            <a:spcBef>
              <a:spcPct val="0"/>
            </a:spcBef>
            <a:spcAft>
              <a:spcPct val="15000"/>
            </a:spcAft>
            <a:buChar char="•"/>
          </a:pPr>
          <a:r>
            <a:rPr lang="en-US" sz="2000" kern="1200" dirty="0"/>
            <a:t>Slower load into SQL Pools</a:t>
          </a:r>
        </a:p>
        <a:p>
          <a:pPr marL="285750" lvl="1" indent="-285750" algn="l" defTabSz="2266950">
            <a:lnSpc>
              <a:spcPct val="90000"/>
            </a:lnSpc>
            <a:spcBef>
              <a:spcPct val="0"/>
            </a:spcBef>
            <a:spcAft>
              <a:spcPct val="15000"/>
            </a:spcAft>
            <a:buChar char="•"/>
          </a:pPr>
          <a:endParaRPr lang="en-US" sz="5100" kern="1200" dirty="0"/>
        </a:p>
      </dsp:txBody>
      <dsp:txXfrm>
        <a:off x="2358853" y="2009790"/>
        <a:ext cx="8521871" cy="1827082"/>
      </dsp:txXfrm>
    </dsp:sp>
    <dsp:sp modelId="{174F6C25-306A-44A7-AE79-D8783256C77C}">
      <dsp:nvSpPr>
        <dsp:cNvPr id="0" name=""/>
        <dsp:cNvSpPr/>
      </dsp:nvSpPr>
      <dsp:spPr>
        <a:xfrm>
          <a:off x="182708" y="2192498"/>
          <a:ext cx="2176145" cy="1461665"/>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24000" b="-2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F1A9C9-CD6E-47B8-A465-49A7A61B5DFC}">
      <dsp:nvSpPr>
        <dsp:cNvPr id="0" name=""/>
        <dsp:cNvSpPr/>
      </dsp:nvSpPr>
      <dsp:spPr>
        <a:xfrm>
          <a:off x="0" y="540581"/>
          <a:ext cx="10880726" cy="1325362"/>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87324" rIns="844465" bIns="199136" numCol="1" spcCol="1270" anchor="t" anchorCtr="0">
          <a:noAutofit/>
        </a:bodyPr>
        <a:lstStyle/>
        <a:p>
          <a:pPr marL="285750" lvl="1" indent="-285750" algn="l" defTabSz="1244600">
            <a:lnSpc>
              <a:spcPct val="90000"/>
            </a:lnSpc>
            <a:spcBef>
              <a:spcPct val="0"/>
            </a:spcBef>
            <a:spcAft>
              <a:spcPct val="15000"/>
            </a:spcAft>
            <a:buChar char="•"/>
          </a:pPr>
          <a:r>
            <a:rPr lang="en-US" sz="2800" kern="1200" dirty="0"/>
            <a:t>Memory pressure leads to smaller </a:t>
          </a:r>
          <a:r>
            <a:rPr lang="en-US" sz="2800" kern="1200" dirty="0" err="1"/>
            <a:t>rowgroup</a:t>
          </a:r>
          <a:r>
            <a:rPr lang="en-US" sz="2800" kern="1200" dirty="0"/>
            <a:t> size</a:t>
          </a:r>
        </a:p>
      </dsp:txBody>
      <dsp:txXfrm>
        <a:off x="0" y="540581"/>
        <a:ext cx="10880726" cy="1325362"/>
      </dsp:txXfrm>
    </dsp:sp>
    <dsp:sp modelId="{C7017B4D-D046-4A0F-BE0A-8E60207124FF}">
      <dsp:nvSpPr>
        <dsp:cNvPr id="0" name=""/>
        <dsp:cNvSpPr/>
      </dsp:nvSpPr>
      <dsp:spPr>
        <a:xfrm>
          <a:off x="544036" y="53501"/>
          <a:ext cx="1031298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600200">
            <a:lnSpc>
              <a:spcPct val="90000"/>
            </a:lnSpc>
            <a:spcBef>
              <a:spcPct val="0"/>
            </a:spcBef>
            <a:spcAft>
              <a:spcPct val="35000"/>
            </a:spcAft>
            <a:buNone/>
          </a:pPr>
          <a:r>
            <a:rPr lang="en-US" sz="3600" kern="1200" dirty="0"/>
            <a:t>Allocate Sufficient Resources for CCI operations</a:t>
          </a:r>
        </a:p>
      </dsp:txBody>
      <dsp:txXfrm>
        <a:off x="591591" y="101056"/>
        <a:ext cx="10217870" cy="879050"/>
      </dsp:txXfrm>
    </dsp:sp>
    <dsp:sp modelId="{BA43EF5B-338C-4B83-AE8C-0380E9AC7C11}">
      <dsp:nvSpPr>
        <dsp:cNvPr id="0" name=""/>
        <dsp:cNvSpPr/>
      </dsp:nvSpPr>
      <dsp:spPr>
        <a:xfrm>
          <a:off x="0" y="2531223"/>
          <a:ext cx="10880726" cy="223492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87324" rIns="844465" bIns="199136" numCol="1" spcCol="1270" anchor="t" anchorCtr="0">
          <a:noAutofit/>
        </a:bodyPr>
        <a:lstStyle/>
        <a:p>
          <a:pPr marL="285750" lvl="1" indent="-285750" algn="l" defTabSz="1244600">
            <a:lnSpc>
              <a:spcPct val="90000"/>
            </a:lnSpc>
            <a:spcBef>
              <a:spcPct val="0"/>
            </a:spcBef>
            <a:spcAft>
              <a:spcPct val="15000"/>
            </a:spcAft>
            <a:buChar char="•"/>
          </a:pPr>
          <a:r>
            <a:rPr lang="en-US" sz="2800" kern="1200" dirty="0"/>
            <a:t>Loading &lt; 102,400 rows per batch (per Distribution) loads data into the delta-store</a:t>
          </a:r>
        </a:p>
        <a:p>
          <a:pPr marL="285750" lvl="1" indent="-285750" algn="l" defTabSz="1244600">
            <a:lnSpc>
              <a:spcPct val="90000"/>
            </a:lnSpc>
            <a:spcBef>
              <a:spcPct val="0"/>
            </a:spcBef>
            <a:spcAft>
              <a:spcPct val="15000"/>
            </a:spcAft>
            <a:buChar char="•"/>
          </a:pPr>
          <a:r>
            <a:rPr lang="en-US" sz="2800" kern="1200" dirty="0"/>
            <a:t>Best efficiency is 1,048,576 rows per </a:t>
          </a:r>
          <a:r>
            <a:rPr lang="en-US" sz="2800" kern="1200" dirty="0" err="1"/>
            <a:t>rowgroup</a:t>
          </a:r>
          <a:endParaRPr lang="en-US" sz="2800" kern="1200" dirty="0"/>
        </a:p>
      </dsp:txBody>
      <dsp:txXfrm>
        <a:off x="0" y="2531223"/>
        <a:ext cx="10880726" cy="2234925"/>
      </dsp:txXfrm>
    </dsp:sp>
    <dsp:sp modelId="{05F78820-7DB3-46FF-9EF9-BD2921268155}">
      <dsp:nvSpPr>
        <dsp:cNvPr id="0" name=""/>
        <dsp:cNvSpPr/>
      </dsp:nvSpPr>
      <dsp:spPr>
        <a:xfrm>
          <a:off x="541379" y="2044143"/>
          <a:ext cx="10330610" cy="97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600200">
            <a:lnSpc>
              <a:spcPct val="90000"/>
            </a:lnSpc>
            <a:spcBef>
              <a:spcPct val="0"/>
            </a:spcBef>
            <a:spcAft>
              <a:spcPct val="35000"/>
            </a:spcAft>
            <a:buNone/>
          </a:pPr>
          <a:r>
            <a:rPr lang="en-US" sz="3600" kern="1200" dirty="0"/>
            <a:t>Avoid Small Loads</a:t>
          </a:r>
        </a:p>
      </dsp:txBody>
      <dsp:txXfrm>
        <a:off x="588934" y="2091698"/>
        <a:ext cx="10235500" cy="87905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664C89-6F60-4511-A68B-55672B3FA338}">
      <dsp:nvSpPr>
        <dsp:cNvPr id="0" name=""/>
        <dsp:cNvSpPr/>
      </dsp:nvSpPr>
      <dsp:spPr>
        <a:xfrm>
          <a:off x="545462" y="1102806"/>
          <a:ext cx="1444202" cy="1444202"/>
        </a:xfrm>
        <a:prstGeom prst="ellipse">
          <a:avLst/>
        </a:prstGeom>
        <a:solidFill>
          <a:schemeClr val="accent1">
            <a:tint val="40000"/>
            <a:hueOff val="0"/>
            <a:satOff val="0"/>
            <a:lumOff val="0"/>
            <a:alphaOff val="0"/>
          </a:schemeClr>
        </a:solidFill>
        <a:ln>
          <a:noFill/>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0">
          <a:scrgbClr r="0" g="0" b="0"/>
        </a:lnRef>
        <a:fillRef idx="1">
          <a:scrgbClr r="0" g="0" b="0"/>
        </a:fillRef>
        <a:effectRef idx="0">
          <a:scrgbClr r="0" g="0" b="0"/>
        </a:effectRef>
        <a:fontRef idx="minor"/>
      </dsp:style>
    </dsp:sp>
    <dsp:sp modelId="{D0522908-9EDC-4E83-B730-9AD411BA9A5C}">
      <dsp:nvSpPr>
        <dsp:cNvPr id="0" name=""/>
        <dsp:cNvSpPr/>
      </dsp:nvSpPr>
      <dsp:spPr>
        <a:xfrm>
          <a:off x="853243" y="1410587"/>
          <a:ext cx="828640" cy="82864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sp>
    <dsp:sp modelId="{327DC837-4BF7-4C43-84B1-AB82E1C39A04}">
      <dsp:nvSpPr>
        <dsp:cNvPr id="0" name=""/>
        <dsp:cNvSpPr/>
      </dsp:nvSpPr>
      <dsp:spPr>
        <a:xfrm>
          <a:off x="83791" y="2996843"/>
          <a:ext cx="2367545"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cap="none" dirty="0"/>
            <a:t>Fewer Columns</a:t>
          </a:r>
        </a:p>
      </dsp:txBody>
      <dsp:txXfrm>
        <a:off x="83791" y="2996843"/>
        <a:ext cx="2367545" cy="720000"/>
      </dsp:txXfrm>
    </dsp:sp>
    <dsp:sp modelId="{8FB97F6D-5892-4092-A735-4689C503E5F3}">
      <dsp:nvSpPr>
        <dsp:cNvPr id="0" name=""/>
        <dsp:cNvSpPr/>
      </dsp:nvSpPr>
      <dsp:spPr>
        <a:xfrm>
          <a:off x="3327328" y="1102806"/>
          <a:ext cx="1444202" cy="1444202"/>
        </a:xfrm>
        <a:prstGeom prst="ellipse">
          <a:avLst/>
        </a:prstGeom>
        <a:solidFill>
          <a:schemeClr val="accent1">
            <a:tint val="40000"/>
            <a:hueOff val="0"/>
            <a:satOff val="0"/>
            <a:lumOff val="0"/>
            <a:alphaOff val="0"/>
          </a:schemeClr>
        </a:solidFill>
        <a:ln>
          <a:noFill/>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0">
          <a:scrgbClr r="0" g="0" b="0"/>
        </a:lnRef>
        <a:fillRef idx="1">
          <a:scrgbClr r="0" g="0" b="0"/>
        </a:fillRef>
        <a:effectRef idx="0">
          <a:scrgbClr r="0" g="0" b="0"/>
        </a:effectRef>
        <a:fontRef idx="minor"/>
      </dsp:style>
    </dsp:sp>
    <dsp:sp modelId="{E9C0C390-7009-4DD7-B6B0-3934162BF39A}">
      <dsp:nvSpPr>
        <dsp:cNvPr id="0" name=""/>
        <dsp:cNvSpPr/>
      </dsp:nvSpPr>
      <dsp:spPr>
        <a:xfrm>
          <a:off x="3635109" y="1410587"/>
          <a:ext cx="828640" cy="82864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sp>
    <dsp:sp modelId="{47823F25-8991-485F-A547-5A60B185C999}">
      <dsp:nvSpPr>
        <dsp:cNvPr id="0" name=""/>
        <dsp:cNvSpPr/>
      </dsp:nvSpPr>
      <dsp:spPr>
        <a:xfrm>
          <a:off x="2865657" y="2996843"/>
          <a:ext cx="2367545"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cap="none" dirty="0"/>
            <a:t>Fewer String Columns</a:t>
          </a:r>
        </a:p>
      </dsp:txBody>
      <dsp:txXfrm>
        <a:off x="2865657" y="2996843"/>
        <a:ext cx="2367545" cy="720000"/>
      </dsp:txXfrm>
    </dsp:sp>
    <dsp:sp modelId="{20BC450A-41FB-4CFB-A08E-6029D9801E43}">
      <dsp:nvSpPr>
        <dsp:cNvPr id="0" name=""/>
        <dsp:cNvSpPr/>
      </dsp:nvSpPr>
      <dsp:spPr>
        <a:xfrm>
          <a:off x="6109194" y="1102806"/>
          <a:ext cx="1444202" cy="1444202"/>
        </a:xfrm>
        <a:prstGeom prst="ellipse">
          <a:avLst/>
        </a:prstGeom>
        <a:solidFill>
          <a:schemeClr val="accent1">
            <a:tint val="40000"/>
            <a:hueOff val="0"/>
            <a:satOff val="0"/>
            <a:lumOff val="0"/>
            <a:alphaOff val="0"/>
          </a:schemeClr>
        </a:solidFill>
        <a:ln>
          <a:noFill/>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0">
          <a:scrgbClr r="0" g="0" b="0"/>
        </a:lnRef>
        <a:fillRef idx="1">
          <a:scrgbClr r="0" g="0" b="0"/>
        </a:fillRef>
        <a:effectRef idx="0">
          <a:scrgbClr r="0" g="0" b="0"/>
        </a:effectRef>
        <a:fontRef idx="minor"/>
      </dsp:style>
    </dsp:sp>
    <dsp:sp modelId="{59D5FBF7-4C05-4F8D-906B-9076546B4B2E}">
      <dsp:nvSpPr>
        <dsp:cNvPr id="0" name=""/>
        <dsp:cNvSpPr/>
      </dsp:nvSpPr>
      <dsp:spPr>
        <a:xfrm>
          <a:off x="6416975" y="1410587"/>
          <a:ext cx="828640" cy="828640"/>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sp>
    <dsp:sp modelId="{4811FCBB-2301-458A-918A-BED720332588}">
      <dsp:nvSpPr>
        <dsp:cNvPr id="0" name=""/>
        <dsp:cNvSpPr/>
      </dsp:nvSpPr>
      <dsp:spPr>
        <a:xfrm>
          <a:off x="5647523" y="2996843"/>
          <a:ext cx="2367545"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cap="none" dirty="0"/>
            <a:t>Avoid Over-Partitioning</a:t>
          </a:r>
        </a:p>
      </dsp:txBody>
      <dsp:txXfrm>
        <a:off x="5647523" y="2996843"/>
        <a:ext cx="2367545" cy="720000"/>
      </dsp:txXfrm>
    </dsp:sp>
    <dsp:sp modelId="{F8736CA0-084C-49E2-9124-F0C94D61BEC0}">
      <dsp:nvSpPr>
        <dsp:cNvPr id="0" name=""/>
        <dsp:cNvSpPr/>
      </dsp:nvSpPr>
      <dsp:spPr>
        <a:xfrm>
          <a:off x="8891060" y="1102806"/>
          <a:ext cx="1444202" cy="1444202"/>
        </a:xfrm>
        <a:prstGeom prst="ellipse">
          <a:avLst/>
        </a:prstGeom>
        <a:solidFill>
          <a:schemeClr val="accent1">
            <a:tint val="40000"/>
            <a:hueOff val="0"/>
            <a:satOff val="0"/>
            <a:lumOff val="0"/>
            <a:alphaOff val="0"/>
          </a:schemeClr>
        </a:solidFill>
        <a:ln>
          <a:noFill/>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0">
          <a:scrgbClr r="0" g="0" b="0"/>
        </a:lnRef>
        <a:fillRef idx="1">
          <a:scrgbClr r="0" g="0" b="0"/>
        </a:fillRef>
        <a:effectRef idx="0">
          <a:scrgbClr r="0" g="0" b="0"/>
        </a:effectRef>
        <a:fontRef idx="minor"/>
      </dsp:style>
    </dsp:sp>
    <dsp:sp modelId="{6D726E07-CB55-47C1-B644-E1A7A7859213}">
      <dsp:nvSpPr>
        <dsp:cNvPr id="0" name=""/>
        <dsp:cNvSpPr/>
      </dsp:nvSpPr>
      <dsp:spPr>
        <a:xfrm>
          <a:off x="9198841" y="1410587"/>
          <a:ext cx="828640" cy="82864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solidFill>
            <a:schemeClr val="lt1">
              <a:hueOff val="0"/>
              <a:satOff val="0"/>
              <a:lumOff val="0"/>
              <a:alphaOff val="0"/>
            </a:schemeClr>
          </a:solidFill>
          <a:prstDash val="solid"/>
          <a:miter lim="800000"/>
        </a:ln>
        <a:effectLst>
          <a:outerShdw blurRad="76200" dist="12700" dir="8100000" sy="-23000" kx="800400" algn="br" rotWithShape="0">
            <a:prstClr val="black">
              <a:alpha val="20000"/>
            </a:prstClr>
          </a:out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sp>
    <dsp:sp modelId="{77539E45-010C-4ADC-A4BB-3F92C5CE1FA4}">
      <dsp:nvSpPr>
        <dsp:cNvPr id="0" name=""/>
        <dsp:cNvSpPr/>
      </dsp:nvSpPr>
      <dsp:spPr>
        <a:xfrm>
          <a:off x="8429389" y="2996843"/>
          <a:ext cx="2367545"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defRPr cap="all"/>
          </a:pPr>
          <a:r>
            <a:rPr lang="en-US" sz="2100" kern="1200" cap="none" dirty="0"/>
            <a:t>Simplify the Load Query</a:t>
          </a:r>
        </a:p>
      </dsp:txBody>
      <dsp:txXfrm>
        <a:off x="8429389" y="2996843"/>
        <a:ext cx="2367545" cy="72000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75F6AB-CE19-4D15-A537-68A49AAD12D6}">
      <dsp:nvSpPr>
        <dsp:cNvPr id="0" name=""/>
        <dsp:cNvSpPr/>
      </dsp:nvSpPr>
      <dsp:spPr>
        <a:xfrm>
          <a:off x="933954" y="1134112"/>
          <a:ext cx="1448488" cy="144848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sp>
    <dsp:sp modelId="{A2733401-1C67-4BA9-92E6-1F002339781C}">
      <dsp:nvSpPr>
        <dsp:cNvPr id="0" name=""/>
        <dsp:cNvSpPr/>
      </dsp:nvSpPr>
      <dsp:spPr>
        <a:xfrm>
          <a:off x="48766" y="2965537"/>
          <a:ext cx="3218863"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pPr>
          <a:r>
            <a:rPr lang="en-US" sz="2100" kern="1200" baseline="0"/>
            <a:t>Use COPY preferred</a:t>
          </a:r>
          <a:endParaRPr lang="en-US" sz="2100" kern="1200"/>
        </a:p>
      </dsp:txBody>
      <dsp:txXfrm>
        <a:off x="48766" y="2965537"/>
        <a:ext cx="3218863" cy="720000"/>
      </dsp:txXfrm>
    </dsp:sp>
    <dsp:sp modelId="{98F37A02-5F98-4A7B-97AD-2D9C8CDD4AC4}">
      <dsp:nvSpPr>
        <dsp:cNvPr id="0" name=""/>
        <dsp:cNvSpPr/>
      </dsp:nvSpPr>
      <dsp:spPr>
        <a:xfrm>
          <a:off x="4716118" y="1134112"/>
          <a:ext cx="1448488" cy="144848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sp>
    <dsp:sp modelId="{5A2A548B-1FF4-4D5F-8D9A-A517363A71BC}">
      <dsp:nvSpPr>
        <dsp:cNvPr id="0" name=""/>
        <dsp:cNvSpPr/>
      </dsp:nvSpPr>
      <dsp:spPr>
        <a:xfrm>
          <a:off x="3830931" y="2965537"/>
          <a:ext cx="3218863"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pPr>
          <a:r>
            <a:rPr lang="en-US" sz="2100" kern="1200"/>
            <a:t>SqlBulkCopy/BCP</a:t>
          </a:r>
        </a:p>
      </dsp:txBody>
      <dsp:txXfrm>
        <a:off x="3830931" y="2965537"/>
        <a:ext cx="3218863" cy="720000"/>
      </dsp:txXfrm>
    </dsp:sp>
    <dsp:sp modelId="{1515E0C5-FF57-4918-BCC0-A75E21FB75DF}">
      <dsp:nvSpPr>
        <dsp:cNvPr id="0" name=""/>
        <dsp:cNvSpPr/>
      </dsp:nvSpPr>
      <dsp:spPr>
        <a:xfrm>
          <a:off x="8498283" y="1134112"/>
          <a:ext cx="1448488" cy="144848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sp>
    <dsp:sp modelId="{122CBB2C-5490-4724-87B4-546EDF18A14A}">
      <dsp:nvSpPr>
        <dsp:cNvPr id="0" name=""/>
        <dsp:cNvSpPr/>
      </dsp:nvSpPr>
      <dsp:spPr>
        <a:xfrm>
          <a:off x="7613095" y="2965537"/>
          <a:ext cx="3218863"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pPr>
          <a:r>
            <a:rPr lang="en-US" sz="2100" kern="1200"/>
            <a:t>Increase batch size 100k-1Mi</a:t>
          </a:r>
        </a:p>
      </dsp:txBody>
      <dsp:txXfrm>
        <a:off x="7613095" y="2965537"/>
        <a:ext cx="3218863" cy="72000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565D67-17C5-4670-B0E2-32769A207C4F}">
      <dsp:nvSpPr>
        <dsp:cNvPr id="0" name=""/>
        <dsp:cNvSpPr/>
      </dsp:nvSpPr>
      <dsp:spPr>
        <a:xfrm>
          <a:off x="0" y="0"/>
          <a:ext cx="10880726" cy="2294511"/>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US" sz="3600" kern="1200" dirty="0"/>
            <a:t>INSERT Statement</a:t>
          </a:r>
        </a:p>
        <a:p>
          <a:pPr marL="228600" lvl="1" indent="-228600" algn="l" defTabSz="1066800">
            <a:lnSpc>
              <a:spcPct val="90000"/>
            </a:lnSpc>
            <a:spcBef>
              <a:spcPct val="0"/>
            </a:spcBef>
            <a:spcAft>
              <a:spcPct val="15000"/>
            </a:spcAft>
            <a:buChar char="•"/>
          </a:pPr>
          <a:r>
            <a:rPr lang="en-US" sz="2400" kern="1200" dirty="0"/>
            <a:t>Small tables</a:t>
          </a:r>
        </a:p>
        <a:p>
          <a:pPr marL="228600" lvl="1" indent="-228600" algn="l" defTabSz="1066800">
            <a:lnSpc>
              <a:spcPct val="90000"/>
            </a:lnSpc>
            <a:spcBef>
              <a:spcPct val="0"/>
            </a:spcBef>
            <a:spcAft>
              <a:spcPct val="15000"/>
            </a:spcAft>
            <a:buChar char="•"/>
          </a:pPr>
          <a:r>
            <a:rPr lang="en-US" sz="2400" kern="1200" dirty="0"/>
            <a:t>One time only</a:t>
          </a:r>
        </a:p>
        <a:p>
          <a:pPr marL="228600" lvl="1" indent="-228600" algn="l" defTabSz="1066800">
            <a:lnSpc>
              <a:spcPct val="90000"/>
            </a:lnSpc>
            <a:spcBef>
              <a:spcPct val="0"/>
            </a:spcBef>
            <a:spcAft>
              <a:spcPct val="15000"/>
            </a:spcAft>
            <a:buChar char="•"/>
          </a:pPr>
          <a:r>
            <a:rPr lang="en-US" sz="2400" kern="1200" dirty="0"/>
            <a:t>Small periodic reload</a:t>
          </a:r>
        </a:p>
      </dsp:txBody>
      <dsp:txXfrm>
        <a:off x="2405596" y="0"/>
        <a:ext cx="8475129" cy="2294511"/>
      </dsp:txXfrm>
    </dsp:sp>
    <dsp:sp modelId="{17792A4A-5312-49EC-B819-52A6908BDBD1}">
      <dsp:nvSpPr>
        <dsp:cNvPr id="0" name=""/>
        <dsp:cNvSpPr/>
      </dsp:nvSpPr>
      <dsp:spPr>
        <a:xfrm>
          <a:off x="229451" y="229451"/>
          <a:ext cx="2176145" cy="1835608"/>
        </a:xfrm>
        <a:prstGeom prst="roundRect">
          <a:avLst>
            <a:gd name="adj" fmla="val 10000"/>
          </a:avLst>
        </a:prstGeom>
        <a:blipFill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4E2C254-275F-4B27-B53F-7C02E368EEA6}">
      <dsp:nvSpPr>
        <dsp:cNvPr id="0" name=""/>
        <dsp:cNvSpPr/>
      </dsp:nvSpPr>
      <dsp:spPr>
        <a:xfrm>
          <a:off x="0" y="2523962"/>
          <a:ext cx="10880726" cy="2294511"/>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US" sz="3600" kern="1200" dirty="0"/>
            <a:t>Bulk load</a:t>
          </a:r>
        </a:p>
        <a:p>
          <a:pPr marL="228600" lvl="1" indent="-228600" algn="l" defTabSz="1066800">
            <a:lnSpc>
              <a:spcPct val="90000"/>
            </a:lnSpc>
            <a:spcBef>
              <a:spcPct val="0"/>
            </a:spcBef>
            <a:spcAft>
              <a:spcPct val="15000"/>
            </a:spcAft>
            <a:buChar char="•"/>
          </a:pPr>
          <a:r>
            <a:rPr lang="en-US" sz="2400" kern="1200" dirty="0"/>
            <a:t>1000+ rows</a:t>
          </a:r>
        </a:p>
        <a:p>
          <a:pPr marL="228600" lvl="1" indent="-228600" algn="l" defTabSz="1066800">
            <a:lnSpc>
              <a:spcPct val="90000"/>
            </a:lnSpc>
            <a:spcBef>
              <a:spcPct val="0"/>
            </a:spcBef>
            <a:spcAft>
              <a:spcPct val="15000"/>
            </a:spcAft>
            <a:buChar char="•"/>
          </a:pPr>
          <a:r>
            <a:rPr lang="en-US" sz="2400" kern="1200" dirty="0"/>
            <a:t>Batch all rows to a file and load it.</a:t>
          </a:r>
        </a:p>
      </dsp:txBody>
      <dsp:txXfrm>
        <a:off x="2405596" y="2523962"/>
        <a:ext cx="8475129" cy="2294511"/>
      </dsp:txXfrm>
    </dsp:sp>
    <dsp:sp modelId="{0DCC1D2B-C8CB-47AC-AB20-7099B085A014}">
      <dsp:nvSpPr>
        <dsp:cNvPr id="0" name=""/>
        <dsp:cNvSpPr/>
      </dsp:nvSpPr>
      <dsp:spPr>
        <a:xfrm>
          <a:off x="229451" y="2753413"/>
          <a:ext cx="2176145" cy="1835608"/>
        </a:xfrm>
        <a:prstGeom prst="roundRect">
          <a:avLst>
            <a:gd name="adj" fmla="val 10000"/>
          </a:avLst>
        </a:prstGeom>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339C82-5F9A-4F81-8B9A-C3655324EA46}">
      <dsp:nvSpPr>
        <dsp:cNvPr id="0" name=""/>
        <dsp:cNvSpPr/>
      </dsp:nvSpPr>
      <dsp:spPr>
        <a:xfrm>
          <a:off x="0" y="0"/>
          <a:ext cx="10880726" cy="229451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dirty="0"/>
            <a:t>Create after the first load</a:t>
          </a:r>
        </a:p>
      </dsp:txBody>
      <dsp:txXfrm>
        <a:off x="2405596" y="0"/>
        <a:ext cx="8475129" cy="2294511"/>
      </dsp:txXfrm>
    </dsp:sp>
    <dsp:sp modelId="{8B0C5CEB-E245-469F-9DB5-183FAA4138AF}">
      <dsp:nvSpPr>
        <dsp:cNvPr id="0" name=""/>
        <dsp:cNvSpPr/>
      </dsp:nvSpPr>
      <dsp:spPr>
        <a:xfrm>
          <a:off x="229451" y="229451"/>
          <a:ext cx="2176145" cy="1835608"/>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1A91C89-F4B1-41A6-8E23-ED865B1A54DC}">
      <dsp:nvSpPr>
        <dsp:cNvPr id="0" name=""/>
        <dsp:cNvSpPr/>
      </dsp:nvSpPr>
      <dsp:spPr>
        <a:xfrm>
          <a:off x="0" y="2523962"/>
          <a:ext cx="10880726" cy="229451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dirty="0"/>
            <a:t>Refresh after substantial change</a:t>
          </a:r>
        </a:p>
      </dsp:txBody>
      <dsp:txXfrm>
        <a:off x="2405596" y="2523962"/>
        <a:ext cx="8475129" cy="2294511"/>
      </dsp:txXfrm>
    </dsp:sp>
    <dsp:sp modelId="{11F05BCC-EADA-4FF4-8E03-0EC18CC3CAF5}">
      <dsp:nvSpPr>
        <dsp:cNvPr id="0" name=""/>
        <dsp:cNvSpPr/>
      </dsp:nvSpPr>
      <dsp:spPr>
        <a:xfrm>
          <a:off x="229451" y="2753413"/>
          <a:ext cx="2176145" cy="1835608"/>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039630" cy="2961200"/>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dirty="0"/>
            <a:t>What is the minimum batch size to avoid </a:t>
          </a:r>
          <a:r>
            <a:rPr lang="en-US" sz="1900" kern="1200" dirty="0" err="1"/>
            <a:t>DeltaStore</a:t>
          </a:r>
          <a:r>
            <a:rPr lang="en-US" sz="1900" kern="1200" dirty="0"/>
            <a:t>?</a:t>
          </a:r>
        </a:p>
      </dsp:txBody>
      <dsp:txXfrm>
        <a:off x="0" y="1184480"/>
        <a:ext cx="3039630" cy="1184480"/>
      </dsp:txXfrm>
    </dsp:sp>
    <dsp:sp modelId="{41B5F4A1-82D4-4720-8B78-273D2F9A3449}">
      <dsp:nvSpPr>
        <dsp:cNvPr id="0" name=""/>
        <dsp:cNvSpPr/>
      </dsp:nvSpPr>
      <dsp:spPr>
        <a:xfrm>
          <a:off x="1026775" y="177671"/>
          <a:ext cx="986079" cy="986079"/>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1585" y="2368960"/>
          <a:ext cx="2796459" cy="444180"/>
        </a:xfrm>
        <a:prstGeom prst="leftRightArrow">
          <a:avLst/>
        </a:prstGeom>
        <a:solidFill>
          <a:schemeClr val="accent4">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1F2F32-F809-4AE4-AC4C-F184C69E64A0}">
      <dsp:nvSpPr>
        <dsp:cNvPr id="0" name=""/>
        <dsp:cNvSpPr/>
      </dsp:nvSpPr>
      <dsp:spPr>
        <a:xfrm>
          <a:off x="0" y="0"/>
          <a:ext cx="5092019" cy="74130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Extract</a:t>
          </a:r>
        </a:p>
      </dsp:txBody>
      <dsp:txXfrm>
        <a:off x="1092534" y="0"/>
        <a:ext cx="3999484" cy="741303"/>
      </dsp:txXfrm>
    </dsp:sp>
    <dsp:sp modelId="{9BFFF13A-C2F1-407F-955D-6B60AE97EBC2}">
      <dsp:nvSpPr>
        <dsp:cNvPr id="0" name=""/>
        <dsp:cNvSpPr/>
      </dsp:nvSpPr>
      <dsp:spPr>
        <a:xfrm>
          <a:off x="74130" y="74130"/>
          <a:ext cx="1018403" cy="593042"/>
        </a:xfrm>
        <a:prstGeom prst="roundRect">
          <a:avLst>
            <a:gd name="adj" fmla="val 10000"/>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40B831B-926B-454E-97FB-EA928005D3E0}">
      <dsp:nvSpPr>
        <dsp:cNvPr id="0" name=""/>
        <dsp:cNvSpPr/>
      </dsp:nvSpPr>
      <dsp:spPr>
        <a:xfrm>
          <a:off x="0" y="815433"/>
          <a:ext cx="5092019" cy="74130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Land into Blob Storage or Data Lake</a:t>
          </a:r>
          <a:endParaRPr lang="en-US" sz="1900" kern="1200" dirty="0"/>
        </a:p>
      </dsp:txBody>
      <dsp:txXfrm>
        <a:off x="1092534" y="815433"/>
        <a:ext cx="3999484" cy="741303"/>
      </dsp:txXfrm>
    </dsp:sp>
    <dsp:sp modelId="{6238A389-8909-4F9D-8DC1-17F25504F656}">
      <dsp:nvSpPr>
        <dsp:cNvPr id="0" name=""/>
        <dsp:cNvSpPr/>
      </dsp:nvSpPr>
      <dsp:spPr>
        <a:xfrm>
          <a:off x="74130" y="889564"/>
          <a:ext cx="1018403" cy="593042"/>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0C92BE0-2B78-4713-865C-57BC3F15A3DF}">
      <dsp:nvSpPr>
        <dsp:cNvPr id="0" name=""/>
        <dsp:cNvSpPr/>
      </dsp:nvSpPr>
      <dsp:spPr>
        <a:xfrm>
          <a:off x="0" y="1630867"/>
          <a:ext cx="5092019" cy="74130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Prepare for loading</a:t>
          </a:r>
          <a:endParaRPr lang="en-US" sz="1900" kern="1200" dirty="0"/>
        </a:p>
      </dsp:txBody>
      <dsp:txXfrm>
        <a:off x="1092534" y="1630867"/>
        <a:ext cx="3999484" cy="741303"/>
      </dsp:txXfrm>
    </dsp:sp>
    <dsp:sp modelId="{5F759FA2-B410-49E0-A037-DF7A4B2D213F}">
      <dsp:nvSpPr>
        <dsp:cNvPr id="0" name=""/>
        <dsp:cNvSpPr/>
      </dsp:nvSpPr>
      <dsp:spPr>
        <a:xfrm>
          <a:off x="74130" y="1704998"/>
          <a:ext cx="1018403" cy="593042"/>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9B9A96D-00F1-4FD7-A2FE-F17200276542}">
      <dsp:nvSpPr>
        <dsp:cNvPr id="0" name=""/>
        <dsp:cNvSpPr/>
      </dsp:nvSpPr>
      <dsp:spPr>
        <a:xfrm>
          <a:off x="0" y="2446301"/>
          <a:ext cx="5092019" cy="74130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Load into staging</a:t>
          </a:r>
          <a:endParaRPr lang="en-US" sz="1900" kern="1200" dirty="0"/>
        </a:p>
      </dsp:txBody>
      <dsp:txXfrm>
        <a:off x="1092534" y="2446301"/>
        <a:ext cx="3999484" cy="741303"/>
      </dsp:txXfrm>
    </dsp:sp>
    <dsp:sp modelId="{50D24CA5-DD17-467B-8A25-8803B1F24C1C}">
      <dsp:nvSpPr>
        <dsp:cNvPr id="0" name=""/>
        <dsp:cNvSpPr/>
      </dsp:nvSpPr>
      <dsp:spPr>
        <a:xfrm>
          <a:off x="74130" y="2520432"/>
          <a:ext cx="1018403" cy="593042"/>
        </a:xfrm>
        <a:prstGeom prst="roundRect">
          <a:avLst>
            <a:gd name="adj" fmla="val 10000"/>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0EE8767-BAA0-47EE-8304-D16217E72DAA}">
      <dsp:nvSpPr>
        <dsp:cNvPr id="0" name=""/>
        <dsp:cNvSpPr/>
      </dsp:nvSpPr>
      <dsp:spPr>
        <a:xfrm>
          <a:off x="0" y="3261735"/>
          <a:ext cx="5092019" cy="74130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Transform</a:t>
          </a:r>
          <a:endParaRPr lang="en-US" sz="1900" kern="1200" dirty="0"/>
        </a:p>
      </dsp:txBody>
      <dsp:txXfrm>
        <a:off x="1092534" y="3261735"/>
        <a:ext cx="3999484" cy="741303"/>
      </dsp:txXfrm>
    </dsp:sp>
    <dsp:sp modelId="{E4BFB56C-0D02-491E-8573-ECA5209FAA5F}">
      <dsp:nvSpPr>
        <dsp:cNvPr id="0" name=""/>
        <dsp:cNvSpPr/>
      </dsp:nvSpPr>
      <dsp:spPr>
        <a:xfrm>
          <a:off x="74130" y="3335866"/>
          <a:ext cx="1018403" cy="593042"/>
        </a:xfrm>
        <a:prstGeom prst="roundRect">
          <a:avLst>
            <a:gd name="adj" fmla="val 10000"/>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4F05212-0B70-4348-AE8B-175F12BB70E6}">
      <dsp:nvSpPr>
        <dsp:cNvPr id="0" name=""/>
        <dsp:cNvSpPr/>
      </dsp:nvSpPr>
      <dsp:spPr>
        <a:xfrm>
          <a:off x="0" y="4077169"/>
          <a:ext cx="5092019" cy="74130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Insert into destination</a:t>
          </a:r>
          <a:endParaRPr lang="en-US" sz="1900" kern="1200" dirty="0"/>
        </a:p>
      </dsp:txBody>
      <dsp:txXfrm>
        <a:off x="1092534" y="4077169"/>
        <a:ext cx="3999484" cy="741303"/>
      </dsp:txXfrm>
    </dsp:sp>
    <dsp:sp modelId="{8A907AFC-B2BB-4F98-B562-CA6A1AA15714}">
      <dsp:nvSpPr>
        <dsp:cNvPr id="0" name=""/>
        <dsp:cNvSpPr/>
      </dsp:nvSpPr>
      <dsp:spPr>
        <a:xfrm>
          <a:off x="74130" y="4151300"/>
          <a:ext cx="1018403" cy="593042"/>
        </a:xfrm>
        <a:prstGeom prst="roundRect">
          <a:avLst>
            <a:gd name="adj" fmla="val 10000"/>
          </a:avLst>
        </a:prstGeom>
        <a:blipFill>
          <a:blip xmlns:r="http://schemas.openxmlformats.org/officeDocument/2006/relationships" r:embed="rId11">
            <a:extLst>
              <a:ext uri="{96DAC541-7B7A-43D3-8B79-37D633B846F1}">
                <asvg:svgBlip xmlns:asvg="http://schemas.microsoft.com/office/drawing/2016/SVG/main" r:embed="rId1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039628" cy="29612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en-US" sz="2100" kern="1200" dirty="0"/>
            <a:t>Which table type is the fastest way to load?</a:t>
          </a:r>
        </a:p>
      </dsp:txBody>
      <dsp:txXfrm>
        <a:off x="0" y="1184480"/>
        <a:ext cx="3039628" cy="1184480"/>
      </dsp:txXfrm>
    </dsp:sp>
    <dsp:sp modelId="{41B5F4A1-82D4-4720-8B78-273D2F9A3449}">
      <dsp:nvSpPr>
        <dsp:cNvPr id="0" name=""/>
        <dsp:cNvSpPr/>
      </dsp:nvSpPr>
      <dsp:spPr>
        <a:xfrm>
          <a:off x="1026774" y="177671"/>
          <a:ext cx="986079" cy="986079"/>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1585" y="2368960"/>
          <a:ext cx="2796457" cy="444180"/>
        </a:xfrm>
        <a:prstGeom prst="leftRight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039628" cy="2961200"/>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dirty="0"/>
            <a:t>How would you maximize a 10GB text file load?</a:t>
          </a:r>
        </a:p>
      </dsp:txBody>
      <dsp:txXfrm>
        <a:off x="0" y="1184480"/>
        <a:ext cx="3039628" cy="1184480"/>
      </dsp:txXfrm>
    </dsp:sp>
    <dsp:sp modelId="{41B5F4A1-82D4-4720-8B78-273D2F9A3449}">
      <dsp:nvSpPr>
        <dsp:cNvPr id="0" name=""/>
        <dsp:cNvSpPr/>
      </dsp:nvSpPr>
      <dsp:spPr>
        <a:xfrm>
          <a:off x="1026774" y="177671"/>
          <a:ext cx="986079" cy="986079"/>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1585" y="2368960"/>
          <a:ext cx="2796457" cy="444180"/>
        </a:xfrm>
        <a:prstGeom prst="leftRightArrow">
          <a:avLst/>
        </a:prstGeom>
        <a:solidFill>
          <a:schemeClr val="accent5">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039628" cy="2961200"/>
        </a:xfrm>
        <a:prstGeom prst="roundRect">
          <a:avLst>
            <a:gd name="adj" fmla="val 10000"/>
          </a:avLst>
        </a:prstGeom>
        <a:solidFill>
          <a:schemeClr val="accent3">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baseline="0" dirty="0"/>
            <a:t>For CCI, what is a reason why you may have inefficient (smaller) compressed RowGroups?</a:t>
          </a:r>
          <a:endParaRPr lang="en-US" sz="1500" kern="1200" dirty="0"/>
        </a:p>
      </dsp:txBody>
      <dsp:txXfrm>
        <a:off x="0" y="1184480"/>
        <a:ext cx="3039628" cy="1184480"/>
      </dsp:txXfrm>
    </dsp:sp>
    <dsp:sp modelId="{41B5F4A1-82D4-4720-8B78-273D2F9A3449}">
      <dsp:nvSpPr>
        <dsp:cNvPr id="0" name=""/>
        <dsp:cNvSpPr/>
      </dsp:nvSpPr>
      <dsp:spPr>
        <a:xfrm>
          <a:off x="1026774" y="177671"/>
          <a:ext cx="986079" cy="986079"/>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1585" y="2368960"/>
          <a:ext cx="2796457" cy="444180"/>
        </a:xfrm>
        <a:prstGeom prst="leftRightArrow">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039630" cy="2961200"/>
        </a:xfrm>
        <a:prstGeom prst="roundRect">
          <a:avLst>
            <a:gd name="adj" fmla="val 10000"/>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baseline="0" dirty="0"/>
            <a:t>Why is ELT a recommended pattern for Synapse?</a:t>
          </a:r>
          <a:endParaRPr lang="en-US" sz="1900" kern="1200" dirty="0"/>
        </a:p>
      </dsp:txBody>
      <dsp:txXfrm>
        <a:off x="0" y="1184480"/>
        <a:ext cx="3039630" cy="1184480"/>
      </dsp:txXfrm>
    </dsp:sp>
    <dsp:sp modelId="{41B5F4A1-82D4-4720-8B78-273D2F9A3449}">
      <dsp:nvSpPr>
        <dsp:cNvPr id="0" name=""/>
        <dsp:cNvSpPr/>
      </dsp:nvSpPr>
      <dsp:spPr>
        <a:xfrm>
          <a:off x="1026775" y="177671"/>
          <a:ext cx="986079" cy="986079"/>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1585" y="2368960"/>
          <a:ext cx="2796459" cy="444180"/>
        </a:xfrm>
        <a:prstGeom prst="leftRight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A1B5B1-7AFA-438C-8D38-C85F242869CC}">
      <dsp:nvSpPr>
        <dsp:cNvPr id="0" name=""/>
        <dsp:cNvSpPr/>
      </dsp:nvSpPr>
      <dsp:spPr>
        <a:xfrm>
          <a:off x="0" y="0"/>
          <a:ext cx="10880725" cy="215625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US" sz="3600" kern="1200" dirty="0"/>
            <a:t>Extract to Supported File</a:t>
          </a:r>
        </a:p>
        <a:p>
          <a:pPr marL="228600" lvl="1" indent="-228600" algn="l" defTabSz="889000">
            <a:lnSpc>
              <a:spcPct val="90000"/>
            </a:lnSpc>
            <a:spcBef>
              <a:spcPct val="0"/>
            </a:spcBef>
            <a:spcAft>
              <a:spcPct val="15000"/>
            </a:spcAft>
            <a:buChar char="•"/>
          </a:pPr>
          <a:r>
            <a:rPr lang="en-US" sz="2000" kern="1200" dirty="0"/>
            <a:t>Delimited text or CSV</a:t>
          </a:r>
        </a:p>
        <a:p>
          <a:pPr marL="228600" lvl="1" indent="-228600" algn="l" defTabSz="889000">
            <a:lnSpc>
              <a:spcPct val="90000"/>
            </a:lnSpc>
            <a:spcBef>
              <a:spcPct val="0"/>
            </a:spcBef>
            <a:spcAft>
              <a:spcPct val="15000"/>
            </a:spcAft>
            <a:buChar char="•"/>
          </a:pPr>
          <a:r>
            <a:rPr lang="en-US" sz="2000" kern="1200" dirty="0"/>
            <a:t>Compressed files: </a:t>
          </a:r>
          <a:r>
            <a:rPr lang="en-US" sz="2000" kern="1200" dirty="0" err="1"/>
            <a:t>Gzip</a:t>
          </a:r>
          <a:r>
            <a:rPr lang="en-US" sz="2000" kern="1200" dirty="0"/>
            <a:t> or Snappy</a:t>
          </a:r>
        </a:p>
        <a:p>
          <a:pPr marL="228600" lvl="1" indent="-228600" algn="l" defTabSz="889000">
            <a:lnSpc>
              <a:spcPct val="90000"/>
            </a:lnSpc>
            <a:spcBef>
              <a:spcPct val="0"/>
            </a:spcBef>
            <a:spcAft>
              <a:spcPct val="15000"/>
            </a:spcAft>
            <a:buChar char="•"/>
          </a:pPr>
          <a:r>
            <a:rPr lang="en-US" sz="2000" kern="1200" dirty="0"/>
            <a:t>Hadoop files: ORC or Parquet</a:t>
          </a:r>
        </a:p>
      </dsp:txBody>
      <dsp:txXfrm>
        <a:off x="2391770" y="0"/>
        <a:ext cx="8488954" cy="2156254"/>
      </dsp:txXfrm>
    </dsp:sp>
    <dsp:sp modelId="{864224D2-4B46-45CB-A013-7F6D80157FB2}">
      <dsp:nvSpPr>
        <dsp:cNvPr id="0" name=""/>
        <dsp:cNvSpPr/>
      </dsp:nvSpPr>
      <dsp:spPr>
        <a:xfrm>
          <a:off x="215625" y="215625"/>
          <a:ext cx="2176145" cy="1725003"/>
        </a:xfrm>
        <a:prstGeom prst="roundRect">
          <a:avLst>
            <a:gd name="adj" fmla="val 10000"/>
          </a:avLst>
        </a:prstGeom>
        <a:blipFill rotWithShape="1">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4DF2C0-AE9A-4489-8216-C11C43107D7A}">
      <dsp:nvSpPr>
        <dsp:cNvPr id="0" name=""/>
        <dsp:cNvSpPr/>
      </dsp:nvSpPr>
      <dsp:spPr>
        <a:xfrm>
          <a:off x="0" y="0"/>
          <a:ext cx="10880725" cy="2187125"/>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US" sz="3600" kern="1200" dirty="0"/>
            <a:t>Land into Blob Storage or Data Lake</a:t>
          </a:r>
        </a:p>
        <a:p>
          <a:pPr marL="228600" lvl="1" indent="-228600" algn="l" defTabSz="889000">
            <a:lnSpc>
              <a:spcPct val="90000"/>
            </a:lnSpc>
            <a:spcBef>
              <a:spcPct val="0"/>
            </a:spcBef>
            <a:spcAft>
              <a:spcPct val="15000"/>
            </a:spcAft>
            <a:buChar char="•"/>
          </a:pPr>
          <a:r>
            <a:rPr lang="en-US" sz="2000" kern="1200" dirty="0"/>
            <a:t>Azure Blob Storage</a:t>
          </a:r>
        </a:p>
        <a:p>
          <a:pPr marL="228600" lvl="1" indent="-228600" algn="l" defTabSz="889000">
            <a:lnSpc>
              <a:spcPct val="90000"/>
            </a:lnSpc>
            <a:spcBef>
              <a:spcPct val="0"/>
            </a:spcBef>
            <a:spcAft>
              <a:spcPct val="15000"/>
            </a:spcAft>
            <a:buChar char="•"/>
          </a:pPr>
          <a:r>
            <a:rPr lang="en-US" sz="2000" kern="1200" dirty="0"/>
            <a:t>Azure Data Lake Store Gen2</a:t>
          </a:r>
        </a:p>
      </dsp:txBody>
      <dsp:txXfrm>
        <a:off x="2394857" y="0"/>
        <a:ext cx="8485867" cy="2187125"/>
      </dsp:txXfrm>
    </dsp:sp>
    <dsp:sp modelId="{9A9C67D2-EDDF-43A2-8BFD-FA7D02874E6B}">
      <dsp:nvSpPr>
        <dsp:cNvPr id="0" name=""/>
        <dsp:cNvSpPr/>
      </dsp:nvSpPr>
      <dsp:spPr>
        <a:xfrm>
          <a:off x="218712" y="218712"/>
          <a:ext cx="2176145" cy="1749700"/>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4564B4-CC5D-4629-A2C7-2114CC262427}">
      <dsp:nvSpPr>
        <dsp:cNvPr id="0" name=""/>
        <dsp:cNvSpPr/>
      </dsp:nvSpPr>
      <dsp:spPr>
        <a:xfrm>
          <a:off x="0" y="0"/>
          <a:ext cx="10880725" cy="240952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a:innerShdw blurRad="63500" dist="50800" dir="18900000">
            <a:prstClr val="black">
              <a:alpha val="50000"/>
            </a:prstClr>
          </a:innerShdw>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US" sz="3600" kern="1200" dirty="0"/>
            <a:t>Prepare for Loading</a:t>
          </a:r>
        </a:p>
        <a:p>
          <a:pPr marL="228600" lvl="1" indent="-228600" algn="l" defTabSz="889000">
            <a:lnSpc>
              <a:spcPct val="90000"/>
            </a:lnSpc>
            <a:spcBef>
              <a:spcPct val="0"/>
            </a:spcBef>
            <a:spcAft>
              <a:spcPct val="15000"/>
            </a:spcAft>
            <a:buChar char="•"/>
          </a:pPr>
          <a:r>
            <a:rPr lang="en-US" sz="2000" kern="1200" dirty="0"/>
            <a:t>Clean</a:t>
          </a:r>
        </a:p>
        <a:p>
          <a:pPr marL="228600" lvl="1" indent="-228600" algn="l" defTabSz="889000">
            <a:lnSpc>
              <a:spcPct val="90000"/>
            </a:lnSpc>
            <a:spcBef>
              <a:spcPct val="0"/>
            </a:spcBef>
            <a:spcAft>
              <a:spcPct val="15000"/>
            </a:spcAft>
            <a:buChar char="•"/>
          </a:pPr>
          <a:r>
            <a:rPr lang="en-US" sz="2000" kern="1200" dirty="0"/>
            <a:t>Prepare</a:t>
          </a:r>
        </a:p>
        <a:p>
          <a:pPr marL="228600" lvl="1" indent="-228600" algn="l" defTabSz="889000">
            <a:lnSpc>
              <a:spcPct val="90000"/>
            </a:lnSpc>
            <a:spcBef>
              <a:spcPct val="0"/>
            </a:spcBef>
            <a:spcAft>
              <a:spcPct val="15000"/>
            </a:spcAft>
            <a:buChar char="•"/>
          </a:pPr>
          <a:r>
            <a:rPr lang="en-US" sz="2000" kern="1200" dirty="0"/>
            <a:t>Define the tables</a:t>
          </a:r>
        </a:p>
        <a:p>
          <a:pPr marL="228600" lvl="1" indent="-228600" algn="l" defTabSz="889000">
            <a:lnSpc>
              <a:spcPct val="90000"/>
            </a:lnSpc>
            <a:spcBef>
              <a:spcPct val="0"/>
            </a:spcBef>
            <a:spcAft>
              <a:spcPct val="15000"/>
            </a:spcAft>
            <a:buChar char="•"/>
          </a:pPr>
          <a:r>
            <a:rPr lang="en-US" sz="2000" kern="1200" dirty="0"/>
            <a:t>Format text files</a:t>
          </a:r>
        </a:p>
      </dsp:txBody>
      <dsp:txXfrm>
        <a:off x="2417097" y="0"/>
        <a:ext cx="8463627" cy="2409525"/>
      </dsp:txXfrm>
    </dsp:sp>
    <dsp:sp modelId="{9DD81670-8D6C-4323-B9D5-C9E43F9C51ED}">
      <dsp:nvSpPr>
        <dsp:cNvPr id="0" name=""/>
        <dsp:cNvSpPr/>
      </dsp:nvSpPr>
      <dsp:spPr>
        <a:xfrm>
          <a:off x="240952" y="240952"/>
          <a:ext cx="2176145" cy="1927620"/>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3D0113-504A-43D1-A869-A6F2C136DC94}">
      <dsp:nvSpPr>
        <dsp:cNvPr id="0" name=""/>
        <dsp:cNvSpPr/>
      </dsp:nvSpPr>
      <dsp:spPr>
        <a:xfrm>
          <a:off x="0" y="0"/>
          <a:ext cx="10880725" cy="247130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US" sz="3600" kern="1200" dirty="0"/>
            <a:t>Load into Staging</a:t>
          </a:r>
        </a:p>
        <a:p>
          <a:pPr marL="228600" lvl="1" indent="-228600" algn="l" defTabSz="889000">
            <a:lnSpc>
              <a:spcPct val="90000"/>
            </a:lnSpc>
            <a:spcBef>
              <a:spcPct val="0"/>
            </a:spcBef>
            <a:spcAft>
              <a:spcPct val="15000"/>
            </a:spcAft>
            <a:buChar char="•"/>
          </a:pPr>
          <a:r>
            <a:rPr lang="en-US" sz="2000" kern="1200" dirty="0"/>
            <a:t>PolyBase – T-SQL/SSIS/Databricks</a:t>
          </a:r>
        </a:p>
        <a:p>
          <a:pPr marL="228600" lvl="1" indent="-228600" algn="l" defTabSz="889000">
            <a:lnSpc>
              <a:spcPct val="90000"/>
            </a:lnSpc>
            <a:spcBef>
              <a:spcPct val="0"/>
            </a:spcBef>
            <a:spcAft>
              <a:spcPct val="15000"/>
            </a:spcAft>
            <a:buChar char="•"/>
          </a:pPr>
          <a:r>
            <a:rPr lang="en-US" sz="2000" kern="1200" dirty="0"/>
            <a:t>COPY statement (preview)</a:t>
          </a:r>
        </a:p>
        <a:p>
          <a:pPr marL="228600" lvl="1" indent="-228600" algn="l" defTabSz="889000">
            <a:lnSpc>
              <a:spcPct val="90000"/>
            </a:lnSpc>
            <a:spcBef>
              <a:spcPct val="0"/>
            </a:spcBef>
            <a:spcAft>
              <a:spcPct val="15000"/>
            </a:spcAft>
            <a:buChar char="•"/>
          </a:pPr>
          <a:r>
            <a:rPr lang="en-US" sz="2000" kern="1200" dirty="0"/>
            <a:t>BCP</a:t>
          </a:r>
        </a:p>
        <a:p>
          <a:pPr marL="228600" lvl="1" indent="-228600" algn="l" defTabSz="889000">
            <a:lnSpc>
              <a:spcPct val="90000"/>
            </a:lnSpc>
            <a:spcBef>
              <a:spcPct val="0"/>
            </a:spcBef>
            <a:spcAft>
              <a:spcPct val="15000"/>
            </a:spcAft>
            <a:buChar char="•"/>
          </a:pPr>
          <a:r>
            <a:rPr lang="en-US" sz="2000" kern="1200" dirty="0" err="1"/>
            <a:t>SqlBulkCopy</a:t>
          </a:r>
          <a:endParaRPr lang="en-US" sz="2000" kern="1200" dirty="0"/>
        </a:p>
      </dsp:txBody>
      <dsp:txXfrm>
        <a:off x="2423275" y="0"/>
        <a:ext cx="8457449" cy="2471309"/>
      </dsp:txXfrm>
    </dsp:sp>
    <dsp:sp modelId="{4E4A1D22-A6E1-46AD-98FE-F63B60851647}">
      <dsp:nvSpPr>
        <dsp:cNvPr id="0" name=""/>
        <dsp:cNvSpPr/>
      </dsp:nvSpPr>
      <dsp:spPr>
        <a:xfrm>
          <a:off x="247130" y="247130"/>
          <a:ext cx="2176145" cy="1977047"/>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54E9C0-2239-4063-B8C3-0EBE91C9A9E8}">
      <dsp:nvSpPr>
        <dsp:cNvPr id="0" name=""/>
        <dsp:cNvSpPr/>
      </dsp:nvSpPr>
      <dsp:spPr>
        <a:xfrm>
          <a:off x="0" y="0"/>
          <a:ext cx="10880725" cy="250897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US" sz="3600" kern="1200" dirty="0"/>
            <a:t>Transform</a:t>
          </a:r>
        </a:p>
        <a:p>
          <a:pPr marL="228600" lvl="1" indent="-228600" algn="l" defTabSz="889000">
            <a:lnSpc>
              <a:spcPct val="90000"/>
            </a:lnSpc>
            <a:spcBef>
              <a:spcPct val="0"/>
            </a:spcBef>
            <a:spcAft>
              <a:spcPct val="15000"/>
            </a:spcAft>
            <a:buChar char="•"/>
          </a:pPr>
          <a:r>
            <a:rPr lang="en-US" sz="2000" kern="1200" dirty="0"/>
            <a:t>Apply business rules</a:t>
          </a:r>
        </a:p>
        <a:p>
          <a:pPr marL="228600" lvl="1" indent="-228600" algn="l" defTabSz="889000">
            <a:lnSpc>
              <a:spcPct val="90000"/>
            </a:lnSpc>
            <a:spcBef>
              <a:spcPct val="0"/>
            </a:spcBef>
            <a:spcAft>
              <a:spcPct val="15000"/>
            </a:spcAft>
            <a:buChar char="•"/>
          </a:pPr>
          <a:r>
            <a:rPr lang="en-US" sz="2000" kern="1200" dirty="0"/>
            <a:t>Data cleansing</a:t>
          </a:r>
        </a:p>
        <a:p>
          <a:pPr marL="228600" lvl="1" indent="-228600" algn="l" defTabSz="889000">
            <a:lnSpc>
              <a:spcPct val="90000"/>
            </a:lnSpc>
            <a:spcBef>
              <a:spcPct val="0"/>
            </a:spcBef>
            <a:spcAft>
              <a:spcPct val="15000"/>
            </a:spcAft>
            <a:buChar char="•"/>
          </a:pPr>
          <a:r>
            <a:rPr lang="en-US" sz="2000" kern="1200" dirty="0"/>
            <a:t>Can be orchestrated via ADF</a:t>
          </a:r>
        </a:p>
        <a:p>
          <a:pPr marL="228600" lvl="1" indent="-228600" algn="l" defTabSz="889000">
            <a:lnSpc>
              <a:spcPct val="90000"/>
            </a:lnSpc>
            <a:spcBef>
              <a:spcPct val="0"/>
            </a:spcBef>
            <a:spcAft>
              <a:spcPct val="15000"/>
            </a:spcAft>
            <a:buChar char="•"/>
          </a:pPr>
          <a:r>
            <a:rPr lang="en-US" sz="2000" kern="1200" dirty="0"/>
            <a:t>T-SQL</a:t>
          </a:r>
        </a:p>
      </dsp:txBody>
      <dsp:txXfrm>
        <a:off x="2427042" y="0"/>
        <a:ext cx="8453682" cy="2508978"/>
      </dsp:txXfrm>
    </dsp:sp>
    <dsp:sp modelId="{99E4C17D-FA66-4073-8E27-276080A4CFF4}">
      <dsp:nvSpPr>
        <dsp:cNvPr id="0" name=""/>
        <dsp:cNvSpPr/>
      </dsp:nvSpPr>
      <dsp:spPr>
        <a:xfrm>
          <a:off x="250897" y="250897"/>
          <a:ext cx="2176145" cy="2007182"/>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BFC20C-FA0B-490A-A218-65D26D90E588}">
      <dsp:nvSpPr>
        <dsp:cNvPr id="0" name=""/>
        <dsp:cNvSpPr/>
      </dsp:nvSpPr>
      <dsp:spPr>
        <a:xfrm>
          <a:off x="0" y="0"/>
          <a:ext cx="10880725" cy="16424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US" sz="3600" kern="1200" dirty="0"/>
            <a:t>Insert Into Destination</a:t>
          </a:r>
        </a:p>
        <a:p>
          <a:pPr marL="285750" lvl="1" indent="-285750" algn="l" defTabSz="2266950">
            <a:lnSpc>
              <a:spcPct val="90000"/>
            </a:lnSpc>
            <a:spcBef>
              <a:spcPct val="0"/>
            </a:spcBef>
            <a:spcAft>
              <a:spcPct val="15000"/>
            </a:spcAft>
            <a:buChar char="•"/>
          </a:pPr>
          <a:endParaRPr lang="en-US" sz="5100" kern="1200" dirty="0"/>
        </a:p>
      </dsp:txBody>
      <dsp:txXfrm>
        <a:off x="2340385" y="0"/>
        <a:ext cx="8540339" cy="1642400"/>
      </dsp:txXfrm>
    </dsp:sp>
    <dsp:sp modelId="{1569CC84-223F-4E7B-ADC1-734AAB3B09C8}">
      <dsp:nvSpPr>
        <dsp:cNvPr id="0" name=""/>
        <dsp:cNvSpPr/>
      </dsp:nvSpPr>
      <dsp:spPr>
        <a:xfrm>
          <a:off x="164240" y="164240"/>
          <a:ext cx="2176145" cy="1313920"/>
        </a:xfrm>
        <a:prstGeom prst="roundRect">
          <a:avLst>
            <a:gd name="adj" fmla="val 10000"/>
          </a:avLst>
        </a:prstGeom>
        <a:blipFill rotWithShape="1">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82E00F-CE6B-4B67-924D-3955A6698159}">
      <dsp:nvSpPr>
        <dsp:cNvPr id="0" name=""/>
        <dsp:cNvSpPr/>
      </dsp:nvSpPr>
      <dsp:spPr>
        <a:xfrm>
          <a:off x="3187" y="766027"/>
          <a:ext cx="2528918" cy="1517351"/>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a:reflection blurRad="6350" stA="50000" endA="300" endPos="38500" dist="50800" dir="5400000" sy="-100000" algn="bl" rotWithShape="0"/>
        </a:effectLst>
        <a:scene3d>
          <a:camera prst="orthographicFront"/>
          <a:lightRig rig="threePt" dir="t"/>
        </a:scene3d>
        <a:sp3d>
          <a:bevelT prst="angle"/>
        </a:sp3d>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baseline="0"/>
            <a:t>Preparing data</a:t>
          </a:r>
          <a:endParaRPr lang="en-US" sz="2800" kern="1200"/>
        </a:p>
      </dsp:txBody>
      <dsp:txXfrm>
        <a:off x="3187" y="766027"/>
        <a:ext cx="2528918" cy="1517351"/>
      </dsp:txXfrm>
    </dsp:sp>
    <dsp:sp modelId="{38DFD838-5F4A-4023-8468-7ADBBE6F6AFD}">
      <dsp:nvSpPr>
        <dsp:cNvPr id="0" name=""/>
        <dsp:cNvSpPr/>
      </dsp:nvSpPr>
      <dsp:spPr>
        <a:xfrm>
          <a:off x="2784998" y="766027"/>
          <a:ext cx="2528918" cy="1517351"/>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a:reflection blurRad="6350" stA="50000" endA="300" endPos="38500" dist="50800" dir="5400000" sy="-100000" algn="bl" rotWithShape="0"/>
        </a:effectLst>
        <a:scene3d>
          <a:camera prst="orthographicFront"/>
          <a:lightRig rig="threePt" dir="t"/>
        </a:scene3d>
        <a:sp3d>
          <a:bevelT prst="angle"/>
        </a:sp3d>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baseline="0"/>
            <a:t>Choosing enough compute </a:t>
          </a:r>
          <a:endParaRPr lang="en-US" sz="2800" kern="1200"/>
        </a:p>
      </dsp:txBody>
      <dsp:txXfrm>
        <a:off x="2784998" y="766027"/>
        <a:ext cx="2528918" cy="1517351"/>
      </dsp:txXfrm>
    </dsp:sp>
    <dsp:sp modelId="{F3BEFFAC-56B0-4651-933D-B23EEF7D7ACA}">
      <dsp:nvSpPr>
        <dsp:cNvPr id="0" name=""/>
        <dsp:cNvSpPr/>
      </dsp:nvSpPr>
      <dsp:spPr>
        <a:xfrm>
          <a:off x="5566808" y="766027"/>
          <a:ext cx="2528918" cy="1517351"/>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a:reflection blurRad="6350" stA="50000" endA="300" endPos="38500" dist="50800" dir="5400000" sy="-100000" algn="bl" rotWithShape="0"/>
        </a:effectLst>
        <a:scene3d>
          <a:camera prst="orthographicFront"/>
          <a:lightRig rig="threePt" dir="t"/>
        </a:scene3d>
        <a:sp3d>
          <a:bevelT prst="angle"/>
        </a:sp3d>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baseline="0"/>
            <a:t>Using PolyBase</a:t>
          </a:r>
          <a:endParaRPr lang="en-US" sz="2800" kern="1200"/>
        </a:p>
      </dsp:txBody>
      <dsp:txXfrm>
        <a:off x="5566808" y="766027"/>
        <a:ext cx="2528918" cy="1517351"/>
      </dsp:txXfrm>
    </dsp:sp>
    <dsp:sp modelId="{C5279A0F-85C6-4851-9B79-3118EE689E5B}">
      <dsp:nvSpPr>
        <dsp:cNvPr id="0" name=""/>
        <dsp:cNvSpPr/>
      </dsp:nvSpPr>
      <dsp:spPr>
        <a:xfrm>
          <a:off x="8348619" y="766027"/>
          <a:ext cx="2528918" cy="1517351"/>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a:reflection blurRad="6350" stA="50000" endA="300" endPos="38500" dist="50800" dir="5400000" sy="-100000" algn="bl" rotWithShape="0"/>
        </a:effectLst>
        <a:scene3d>
          <a:camera prst="orthographicFront"/>
          <a:lightRig rig="threePt" dir="t"/>
        </a:scene3d>
        <a:sp3d>
          <a:bevelT prst="angle"/>
        </a:sp3d>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baseline="0"/>
            <a:t>Using staging tables</a:t>
          </a:r>
          <a:endParaRPr lang="en-US" sz="2800" kern="1200"/>
        </a:p>
      </dsp:txBody>
      <dsp:txXfrm>
        <a:off x="8348619" y="766027"/>
        <a:ext cx="2528918" cy="1517351"/>
      </dsp:txXfrm>
    </dsp:sp>
    <dsp:sp modelId="{B01EF7F8-3756-4489-BFDD-B7A14FDFBDF6}">
      <dsp:nvSpPr>
        <dsp:cNvPr id="0" name=""/>
        <dsp:cNvSpPr/>
      </dsp:nvSpPr>
      <dsp:spPr>
        <a:xfrm>
          <a:off x="3187" y="2536270"/>
          <a:ext cx="2528918" cy="1517351"/>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a:reflection blurRad="6350" stA="50000" endA="300" endPos="38500" dist="50800" dir="5400000" sy="-100000" algn="bl" rotWithShape="0"/>
        </a:effectLst>
        <a:scene3d>
          <a:camera prst="orthographicFront"/>
          <a:lightRig rig="threePt" dir="t"/>
        </a:scene3d>
        <a:sp3d>
          <a:bevelT prst="angle"/>
        </a:sp3d>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baseline="0"/>
            <a:t>CCI load</a:t>
          </a:r>
          <a:endParaRPr lang="en-US" sz="2800" kern="1200"/>
        </a:p>
      </dsp:txBody>
      <dsp:txXfrm>
        <a:off x="3187" y="2536270"/>
        <a:ext cx="2528918" cy="1517351"/>
      </dsp:txXfrm>
    </dsp:sp>
    <dsp:sp modelId="{451F798B-3B4B-4534-9C1B-3C503B9AF131}">
      <dsp:nvSpPr>
        <dsp:cNvPr id="0" name=""/>
        <dsp:cNvSpPr/>
      </dsp:nvSpPr>
      <dsp:spPr>
        <a:xfrm>
          <a:off x="2784998" y="2536270"/>
          <a:ext cx="2528918" cy="1517351"/>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a:reflection blurRad="6350" stA="50000" endA="300" endPos="38500" dist="50800" dir="5400000" sy="-100000" algn="bl" rotWithShape="0"/>
        </a:effectLst>
        <a:scene3d>
          <a:camera prst="orthographicFront"/>
          <a:lightRig rig="threePt" dir="t"/>
        </a:scene3d>
        <a:sp3d>
          <a:bevelT prst="angle"/>
        </a:sp3d>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baseline="0"/>
            <a:t>Batch sizes</a:t>
          </a:r>
          <a:endParaRPr lang="en-US" sz="2800" kern="1200"/>
        </a:p>
      </dsp:txBody>
      <dsp:txXfrm>
        <a:off x="2784998" y="2536270"/>
        <a:ext cx="2528918" cy="1517351"/>
      </dsp:txXfrm>
    </dsp:sp>
    <dsp:sp modelId="{4DCFEB86-FC71-41E2-BA51-AD3FD9653083}">
      <dsp:nvSpPr>
        <dsp:cNvPr id="0" name=""/>
        <dsp:cNvSpPr/>
      </dsp:nvSpPr>
      <dsp:spPr>
        <a:xfrm>
          <a:off x="5566808" y="2536270"/>
          <a:ext cx="2528918" cy="1517351"/>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a:reflection blurRad="6350" stA="50000" endA="300" endPos="38500" dist="50800" dir="5400000" sy="-100000" algn="bl" rotWithShape="0"/>
        </a:effectLst>
        <a:scene3d>
          <a:camera prst="orthographicFront"/>
          <a:lightRig rig="threePt" dir="t"/>
        </a:scene3d>
        <a:sp3d>
          <a:bevelT prst="angle"/>
        </a:sp3d>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baseline="0"/>
            <a:t>Insert into Prod tables</a:t>
          </a:r>
          <a:endParaRPr lang="en-US" sz="2800" kern="1200"/>
        </a:p>
      </dsp:txBody>
      <dsp:txXfrm>
        <a:off x="5566808" y="2536270"/>
        <a:ext cx="2528918" cy="1517351"/>
      </dsp:txXfrm>
    </dsp:sp>
    <dsp:sp modelId="{879A1536-E7B3-4E7D-BED3-857E9C56E413}">
      <dsp:nvSpPr>
        <dsp:cNvPr id="0" name=""/>
        <dsp:cNvSpPr/>
      </dsp:nvSpPr>
      <dsp:spPr>
        <a:xfrm>
          <a:off x="8348619" y="2536270"/>
          <a:ext cx="2528918" cy="1517351"/>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a:reflection blurRad="6350" stA="50000" endA="300" endPos="38500" dist="50800" dir="5400000" sy="-100000" algn="bl" rotWithShape="0"/>
        </a:effectLst>
        <a:scene3d>
          <a:camera prst="orthographicFront"/>
          <a:lightRig rig="threePt" dir="t"/>
        </a:scene3d>
        <a:sp3d>
          <a:bevelT prst="angle"/>
        </a:sp3d>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baseline="0"/>
            <a:t>Using stats</a:t>
          </a:r>
          <a:endParaRPr lang="en-US" sz="2800" kern="1200"/>
        </a:p>
      </dsp:txBody>
      <dsp:txXfrm>
        <a:off x="8348619" y="2536270"/>
        <a:ext cx="2528918" cy="1517351"/>
      </dsp:txXfrm>
    </dsp:sp>
  </dsp:spTree>
</dsp:drawing>
</file>

<file path=ppt/diagrams/layout1.xml><?xml version="1.0" encoding="utf-8"?>
<dgm:layoutDef xmlns:dgm="http://schemas.openxmlformats.org/drawingml/2006/diagram" xmlns:a="http://schemas.openxmlformats.org/drawingml/2006/main" uniqueId="urn:microsoft.com/office/officeart/2008/layout/BendingPictureCaption">
  <dgm:title val=""/>
  <dgm:desc val=""/>
  <dgm:catLst>
    <dgm:cat type="picture" pri="6000"/>
    <dgm:cat type="pictureconvert" pri="6000"/>
  </dgm:catLst>
  <dgm:sampData>
    <dgm:dataModel>
      <dgm:ptLst>
        <dgm:pt modelId="0" type="doc"/>
        <dgm:pt modelId="1">
          <dgm:prSet phldr="1"/>
        </dgm:pt>
        <dgm:pt modelId="2">
          <dgm:prSet phldr="1"/>
        </dgm:pt>
      </dgm:ptLst>
      <dgm:cxnLst>
        <dgm:cxn modelId="7" srcId="0" destId="1" srcOrd="0" destOrd="0"/>
        <dgm:cxn modelId="8" srcId="0" destId="2" srcOrd="1"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diagram">
    <dgm:varLst>
      <dgm:dir/>
    </dgm:varLst>
    <dgm:choose name="Name0">
      <dgm:if name="Name1" func="var" arg="dir" op="equ" val="norm">
        <dgm:alg type="snake">
          <dgm:param type="off" val="ctr"/>
        </dgm:alg>
      </dgm:if>
      <dgm:else name="Name2">
        <dgm:alg type="snake">
          <dgm:param type="grDir" val="tR"/>
          <dgm:param type="off" val="c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1"/>
        </dgm:alg>
        <dgm:shape xmlns:r="http://schemas.openxmlformats.org/officeDocument/2006/relationships" r:blip="">
          <dgm:adjLst/>
        </dgm:shape>
        <dgm:choose name="Name3">
          <dgm:if name="Name4" func="var" arg="dir" op="equ" val="norm">
            <dgm:constrLst>
              <dgm:constr type="l" for="ch" forName="Image" refType="w" fact="0"/>
              <dgm:constr type="t" for="ch" forName="Image" refType="h" fact="0"/>
              <dgm:constr type="w" for="ch" forName="Image" refType="w" fact="0.94"/>
              <dgm:constr type="h" for="ch" forName="Image" refType="h" fact="0.91"/>
              <dgm:constr type="l" for="ch" forName="Parent" refType="w" fact="0.19"/>
              <dgm:constr type="t" for="ch" forName="Parent" refType="h" fact="0.745"/>
              <dgm:constr type="w" for="ch" forName="Parent" refType="w" fact="0.81"/>
              <dgm:constr type="h" for="ch" forName="Parent" refType="h" fact="0.255"/>
            </dgm:constrLst>
          </dgm:if>
          <dgm:else name="Name5">
            <dgm:constrLst>
              <dgm:constr type="l" for="ch" forName="Image" refType="w" fact="0.06"/>
              <dgm:constr type="t" for="ch" forName="Image" refType="h" fact="0"/>
              <dgm:constr type="w" for="ch" forName="Image" refType="w" fact="0.94"/>
              <dgm:constr type="h" for="ch" forName="Image" refType="h" fact="0.91"/>
              <dgm:constr type="l" for="ch" forName="Parent" refType="w" fact="0"/>
              <dgm:constr type="t" for="ch" forName="Parent" refType="h" fact="0.745"/>
              <dgm:constr type="w" for="ch" forName="Parent" refType="w" fact="0.81"/>
              <dgm:constr type="h" for="ch" forName="Parent" refType="h" fact="0.255"/>
            </dgm:constrLst>
          </dgm:else>
        </dgm:choose>
        <dgm:layoutNode name="Image" styleLbl="bgShp">
          <dgm:alg type="sp"/>
          <dgm:shape xmlns:r="http://schemas.openxmlformats.org/officeDocument/2006/relationships" type="rect" r:blip="" blipPhldr="1">
            <dgm:adjLst/>
          </dgm:shape>
          <dgm:presOf/>
        </dgm:layoutNode>
        <dgm:layoutNode name="Parent" styleLbl="node0">
          <dgm:varLst>
            <dgm:bulletEnabled val="1"/>
          </dgm:varLst>
          <dgm:alg type="tx">
            <dgm:param type="txAnchorVertCh" val="mid"/>
            <dgm:param type="shpTxRTLAlignCh" val="r"/>
            <dgm:param type="lnSpAfParP" val="5"/>
          </dgm:alg>
          <dgm:shape xmlns:r="http://schemas.openxmlformats.org/officeDocument/2006/relationships" type="rect" r:blip="">
            <dgm:adjLst/>
          </dgm:shape>
          <dgm:presOf axis="desOr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11.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12.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13.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16.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17.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3.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A22D87-72E9-4308-96F6-375841B6866D}" type="datetimeFigureOut">
              <a:rPr lang="en-US"/>
              <a:t>4/2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405CA6-A7A9-4E0F-8672-28CF28CC7700}" type="slidenum">
              <a:rPr lang="en-US"/>
              <a:t>‹#›</a:t>
            </a:fld>
            <a:endParaRPr lang="en-US"/>
          </a:p>
        </p:txBody>
      </p:sp>
    </p:spTree>
    <p:extLst>
      <p:ext uri="{BB962C8B-B14F-4D97-AF65-F5344CB8AC3E}">
        <p14:creationId xmlns:p14="http://schemas.microsoft.com/office/powerpoint/2010/main" val="71150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sql/t-sql/statements/create-external-data-source-transact-sql?toc=/azure/synapse-analytics/sql-data-warehouse/toc.json&amp;bc=/azure/synapse-analytics/sql-data-warehouse/breadcrumb/toc.json&amp;view=azure-sqldw-latest" TargetMode="External"/><Relationship Id="rId2" Type="http://schemas.openxmlformats.org/officeDocument/2006/relationships/slide" Target="../slides/slide11.xml"/><Relationship Id="rId1" Type="http://schemas.openxmlformats.org/officeDocument/2006/relationships/notesMaster" Target="../notesMasters/notesMaster1.xml"/><Relationship Id="rId5" Type="http://schemas.openxmlformats.org/officeDocument/2006/relationships/hyperlink" Target="https://docs.microsoft.com/en-us/sql/t-sql/statements/create-external-table-transact-sql?toc=/azure/synapse-analytics/sql-data-warehouse/toc.json&amp;bc=/azure/synapse-analytics/sql-data-warehouse/breadcrumb/toc.json&amp;view=azure-sqldw-latest" TargetMode="External"/><Relationship Id="rId4" Type="http://schemas.openxmlformats.org/officeDocument/2006/relationships/hyperlink" Target="https://docs.microsoft.com/en-us/sql/t-sql/statements/create-external-file-format-transact-sql?toc=/azure/synapse-analytics/sql-data-warehouse/toc.json&amp;bc=/azure/synapse-analytics/sql-data-warehouse/breadcrumb/toc.json&amp;view=azure-sqldw-latest" TargetMode="External"/></Relationships>
</file>

<file path=ppt/notesSlides/_rels/notesSlide11.xml.rels><?xml version="1.0" encoding="UTF-8" standalone="yes"?>
<Relationships xmlns="http://schemas.openxmlformats.org/package/2006/relationships"><Relationship Id="rId8" Type="http://schemas.openxmlformats.org/officeDocument/2006/relationships/hyperlink" Target="https://docs.microsoft.com/en-us/azure/azure-databricks/databricks-extract-load-sql-data-warehouse?toc=/azure/synapse-analytics/sql-data-warehouse/toc.json&amp;bc=/azure/synapse-analytics/sql-data-warehouse/breadcrumb/toc.json" TargetMode="External"/><Relationship Id="rId3" Type="http://schemas.openxmlformats.org/officeDocument/2006/relationships/hyperlink" Target="https://docs.microsoft.com/en-us/azure/synapse-analytics/sql-data-warehouse/design-elt-data-loading#4-load-the-data-using-polybase-or-the-copy-statement" TargetMode="External"/><Relationship Id="rId7" Type="http://schemas.openxmlformats.org/officeDocument/2006/relationships/hyperlink" Target="https://docs.microsoft.com/en-us/sql/integration-services/load-data-to-sql-data-warehouse?toc=/azure/synapse-analytics/sql-data-warehouse/toc.json&amp;bc=/azure/synapse-analytics/sql-data-warehouse/breadcrumb/toc.json&amp;view=azure-sqldw-latest"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docs.microsoft.com/en-us/azure/data-factory/load-azure-sql-data-warehouse?toc=/azure/synapse-analytics/sql-data-warehouse/toc.json&amp;bc=/azure/synapse-analytics/sql-data-warehouse/breadcrumb/toc.json" TargetMode="External"/><Relationship Id="rId5" Type="http://schemas.openxmlformats.org/officeDocument/2006/relationships/hyperlink" Target="https://docs.microsoft.com/en-us/azure/synapse-analytics/sql-data-warehouse/load-data-from-azure-blob-storage-using-polybase" TargetMode="External"/><Relationship Id="rId10" Type="http://schemas.openxmlformats.org/officeDocument/2006/relationships/hyperlink" Target="https://docs.microsoft.com/en-us/dotnet/api/system.data.sqlclient.sqlbulkcopy?toc=/azure/synapse-analytics/sql-data-warehouse/toc.json&amp;bc=/azure/synapse-analytics/sql-data-warehouse/breadcrumb/toc.json" TargetMode="External"/><Relationship Id="rId4" Type="http://schemas.openxmlformats.org/officeDocument/2006/relationships/hyperlink" Target="https://docs.microsoft.com/en-us/sql/t-sql/statements/copy-into-transact-sql?view=azure-sqldw-latest" TargetMode="External"/><Relationship Id="rId9" Type="http://schemas.openxmlformats.org/officeDocument/2006/relationships/hyperlink" Target="https://docs.microsoft.com/en-us/sql/tools/bcp-utility?toc=/azure/synapse-analytics/sql-data-warehouse/toc.json&amp;bc=/azure/synapse-analytics/sql-data-warehouse/breadcrumb/toc.json&amp;view=azure-sqldw-latest"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guidance-for-loading-data"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guidance-for-loading-data#preparing-data-in-azure-storage"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guidance-for-loading-data#running-loads-with-enough-compute"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docs.microsoft.com/en-us/sql/t-sql/statements/copy-into-transact-sql?view=azure-sqldw-latest"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guidance-for-loading-data#allowing-multiple-users-to-load-polybase"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docs.microsoft.com/en-us/sql/t-sql/statements/create-table-as-select-azure-sql-data-warehouse?toc=/azure/synapse-analytics/sql-data-warehouse/toc.json&amp;bc=/azure/synapse-analytics/sql-data-warehouse/breadcrumb/toc.json&amp;view=azure-sqldw-latest"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guidance-for-loading-data#loading-to-a-staging-table"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guidance-for-loading-data#loading-to-a-columnstore-index"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s://docs.microsoft.com/en-us/azure/synapse-analytics/sql-data-warehouse/sql-data-warehouse-memory-optimizations-for-columnstore-compression"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sql-data-warehouse-memory-optimizations-for-columnstore-compression"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guidance-for-loading-data#increase-batch-size-when-using-sqlbulkcopy-api-or-bcp" TargetMode="External"/><Relationship Id="rId2" Type="http://schemas.openxmlformats.org/officeDocument/2006/relationships/slide" Target="../slides/slide24.xml"/><Relationship Id="rId1" Type="http://schemas.openxmlformats.org/officeDocument/2006/relationships/notesMaster" Target="../notesMasters/notesMaster1.xml"/><Relationship Id="rId5" Type="http://schemas.openxmlformats.org/officeDocument/2006/relationships/hyperlink" Target="https://docs.microsoft.com/en-us/sql/tools/bcp-utility?toc=/azure/synapse-analytics/sql-data-warehouse/toc.json&amp;bc=/azure/synapse-analytics/sql-data-warehouse/breadcrumb/toc.json&amp;view=azure-sqldw-latest" TargetMode="External"/><Relationship Id="rId4" Type="http://schemas.openxmlformats.org/officeDocument/2006/relationships/hyperlink" Target="https://docs.microsoft.com/en-us/dotnet/api/system.data.sqlclient.sqlbulkcopy?toc=/azure/synapse-analytics/sql-data-warehouse/toc.json&amp;bc=/azure/synapse-analytics/sql-data-warehouse/breadcrumb/toc.json" TargetMode="Externa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guidance-for-loading-data#inserting-data-into-a-production-table"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docs.microsoft.com/en-us/sql/t-sql/statements/insert-transact-sql?toc=/azure/synapse-analytics/sql-data-warehouse/toc.json&amp;bc=/azure/synapse-analytics/sql-data-warehouse/breadcrumb/toc.json&amp;view=azure-sqldw-latest" TargetMode="Externa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guidance-for-loading-data#creating-statistics-after-the-load" TargetMode="External"/><Relationship Id="rId2" Type="http://schemas.openxmlformats.org/officeDocument/2006/relationships/slide" Target="../slides/slide26.xml"/><Relationship Id="rId1" Type="http://schemas.openxmlformats.org/officeDocument/2006/relationships/notesMaster" Target="../notesMasters/notesMaster1.xml"/><Relationship Id="rId5" Type="http://schemas.openxmlformats.org/officeDocument/2006/relationships/hyperlink" Target="https://docs.microsoft.com/en-us/azure/synapse-analytics/sql-data-warehouse/sql-data-warehouse-tables-statistics" TargetMode="External"/><Relationship Id="rId4" Type="http://schemas.openxmlformats.org/officeDocument/2006/relationships/hyperlink" Target="https://docs.microsoft.com/en-us/azure/synapse-analytics/sql-data-warehouse/sql-data-warehouse-tables-statistics#automatic-creation-of-statistic" TargetMode="Externa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azure/architecture/data-guide/relational-data/etl#:~:text=Extract%2C%20load%2C%20and%20transform%20(ELT)%20differs%20from%20ETL,are%20used%20to%20transform%20data."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docs.microsoft.com/en-us/sql/t-sql/statements/copy-into-transact-sql?toc=/azure/synapse-analytics/sql-data-warehouse/toc.json&amp;bc=/azure/synapse-analytics/sql-data-warehouse/breadcrumb/toc.json&amp;view=azure-sqldw-latest" TargetMode="External"/><Relationship Id="rId5" Type="http://schemas.openxmlformats.org/officeDocument/2006/relationships/hyperlink" Target="https://docs.microsoft.com/en-us/dotnet/api/system.data.sqlclient.sqlbulkcopy?toc=/azure/synapse-analytics/sql-data-warehouse/toc.json&amp;bc=/azure/synapse-analytics/sql-data-warehouse/breadcrumb/toc.json" TargetMode="External"/><Relationship Id="rId4" Type="http://schemas.openxmlformats.org/officeDocument/2006/relationships/hyperlink" Target="https://docs.microsoft.com/en-us/sql/tools/bcp-utility?toc=/azure/synapse-analytics/sql-data-warehouse/toc.json&amp;bc=/azure/synapse-analytics/sql-data-warehouse/breadcrumb/toc.json&amp;view=azure-sqldw-latest"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design-elt-data-loading#4-load-the-data-using-polybase-or-the-copy-statement"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docs.microsoft.com/en-us/sql/t-sql/statements/copy-into-transact-sql?toc=/azure/synapse-analytics/sql-data-warehouse/toc.json&amp;bc=/azure/synapse-analytics/sql-data-warehouse/breadcrumb/toc.json&amp;view=azure-sqldw-latest" TargetMode="External"/><Relationship Id="rId5" Type="http://schemas.openxmlformats.org/officeDocument/2006/relationships/hyperlink" Target="https://docs.microsoft.com/en-us/dotnet/api/system.data.sqlclient.sqlbulkcopy?toc=/azure/synapse-analytics/sql-data-warehouse/toc.json&amp;bc=/azure/synapse-analytics/sql-data-warehouse/breadcrumb/toc.json" TargetMode="External"/><Relationship Id="rId4" Type="http://schemas.openxmlformats.org/officeDocument/2006/relationships/hyperlink" Target="https://docs.microsoft.com/en-us/sql/tools/bcp-utility?toc=/azure/synapse-analytics/sql-data-warehouse/toc.json&amp;bc=/azure/synapse-analytics/sql-data-warehouse/breadcrumb/toc.json&amp;view=azure-sqldw-latest"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sql/tools/bcp-utility?toc=/azure/synapse-analytics/sql-data-warehouse/toc.json&amp;bc=/azure/synapse-analytics/sql-data-warehouse/breadcrumb/toc.json&amp;view=azure-sqldw-latest"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s://docs.microsoft.com/en-us/azure/data-factory/load-azure-sql-data-warehouse?toc=/azure/synapse-analytics/sql-data-warehouse/toc.json&amp;bc=/azure/synapse-analytics/sql-data-warehouse/breadcrumb/toc.json" TargetMode="External"/><Relationship Id="rId3" Type="http://schemas.openxmlformats.org/officeDocument/2006/relationships/hyperlink" Target="https://docs.microsoft.com/en-us/azure/storage/blobs/storage-blobs-introduction?toc=/azure/synapse-analytics/sql-data-warehouse/toc.json&amp;bc=/azure/synapse-analytics/sql-data-warehouse/breadcrumb/toc.json" TargetMode="External"/><Relationship Id="rId7" Type="http://schemas.openxmlformats.org/officeDocument/2006/relationships/hyperlink" Target="https://docs.microsoft.com/en-us/azure/data-factory/introduction?toc=/azure/synapse-analytics/sql-data-warehouse/toc.json&amp;bc=/azure/synapse-analytics/sql-data-warehouse/breadcrumb/toc.json"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docs.microsoft.com/en-us/azure/storage/common/storage-choose-data-transfer-solution?toc=/azure/synapse-analytics/sql-data-warehouse/toc.json&amp;bc=/azure/synapse-analytics/sql-data-warehouse/breadcrumb/toc.json" TargetMode="External"/><Relationship Id="rId5" Type="http://schemas.openxmlformats.org/officeDocument/2006/relationships/hyperlink" Target="https://docs.microsoft.com/en-us/azure/expressroute/expressroute-introduction?toc=/azure/synapse-analytics/sql-data-warehouse/toc.json&amp;bc=/azure/synapse-analytics/sql-data-warehouse/breadcrumb/toc.json" TargetMode="External"/><Relationship Id="rId4" Type="http://schemas.openxmlformats.org/officeDocument/2006/relationships/hyperlink" Target="https://docs.microsoft.com/en-us/azure/data-lake-store/data-lake-store-overview?toc=/azure/synapse-analytics/sql-data-warehouse/toc.json&amp;bc=/azure/synapse-analytics/sql-data-warehouse/breadcrumb/toc.json"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C84295-5BF3-4C0D-B900-059CC5DD0EBB}"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702691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You might need to prepare and clean the data in your storage account before loading. Data preparation can be performed while your data is in the source, as you export the data to text files, or after the data is in Azure Storage. It is easiest to work with the data as early in the process as possible.</a:t>
            </a:r>
          </a:p>
          <a:p>
            <a:r>
              <a:rPr lang="en-US" sz="1200" b="1" i="0" kern="1200" dirty="0">
                <a:solidFill>
                  <a:schemeClr val="tx1"/>
                </a:solidFill>
                <a:effectLst/>
                <a:latin typeface="+mn-lt"/>
                <a:ea typeface="+mn-ea"/>
                <a:cs typeface="+mn-cs"/>
              </a:rPr>
              <a:t>Define the tables</a:t>
            </a:r>
          </a:p>
          <a:p>
            <a:r>
              <a:rPr lang="en-US" sz="1200" b="0" i="0" kern="1200" dirty="0">
                <a:solidFill>
                  <a:schemeClr val="tx1"/>
                </a:solidFill>
                <a:effectLst/>
                <a:latin typeface="+mn-lt"/>
                <a:ea typeface="+mn-ea"/>
                <a:cs typeface="+mn-cs"/>
              </a:rPr>
              <a:t>You must first define the table(s) you are loading to in your SQL pool when using the COPY statement.</a:t>
            </a:r>
          </a:p>
          <a:p>
            <a:r>
              <a:rPr lang="en-US" sz="1200" b="0" i="0" kern="1200" dirty="0">
                <a:solidFill>
                  <a:schemeClr val="tx1"/>
                </a:solidFill>
                <a:effectLst/>
                <a:latin typeface="+mn-lt"/>
                <a:ea typeface="+mn-ea"/>
                <a:cs typeface="+mn-cs"/>
              </a:rPr>
              <a:t>If you are using PolyBase, you need to define external tables in your SQL pool before loading. PolyBase uses external tables to define and access the data in Azure Storage. An external table is similar to a database view. The external table contains the table schema and points to data that is stored outside the SQL pool.</a:t>
            </a:r>
          </a:p>
          <a:p>
            <a:r>
              <a:rPr lang="en-US" sz="1200" b="0" i="0" kern="1200" dirty="0">
                <a:solidFill>
                  <a:schemeClr val="tx1"/>
                </a:solidFill>
                <a:effectLst/>
                <a:latin typeface="+mn-lt"/>
                <a:ea typeface="+mn-ea"/>
                <a:cs typeface="+mn-cs"/>
              </a:rPr>
              <a:t>Defining external tables involves specifying the data source, the format of the text files, and the table definitions. T-SQL syntax reference articles that you will need are:</a:t>
            </a:r>
          </a:p>
          <a:p>
            <a:r>
              <a:rPr lang="en-US" sz="1200" b="0" i="0" u="none" strike="noStrike" kern="1200" dirty="0">
                <a:solidFill>
                  <a:schemeClr val="tx1"/>
                </a:solidFill>
                <a:effectLst/>
                <a:latin typeface="+mn-lt"/>
                <a:ea typeface="+mn-ea"/>
                <a:cs typeface="+mn-cs"/>
                <a:hlinkClick r:id="rId3"/>
              </a:rPr>
              <a:t>CREATE EXTERNAL DATA SOURCE</a:t>
            </a:r>
            <a:endParaRPr lang="en-US" sz="1200" b="0" i="0"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hlinkClick r:id="rId4"/>
              </a:rPr>
              <a:t>CREATE EXTERNAL FILE FORMAT</a:t>
            </a:r>
            <a:endParaRPr lang="en-US" sz="1200" b="0" i="0"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hlinkClick r:id="rId5"/>
              </a:rPr>
              <a:t>CREATE EXTERNAL TABLE</a:t>
            </a:r>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Format text files</a:t>
            </a:r>
          </a:p>
          <a:p>
            <a:r>
              <a:rPr lang="en-US" sz="1200" b="0" i="0" kern="1200" dirty="0">
                <a:solidFill>
                  <a:schemeClr val="tx1"/>
                </a:solidFill>
                <a:effectLst/>
                <a:latin typeface="+mn-lt"/>
                <a:ea typeface="+mn-ea"/>
                <a:cs typeface="+mn-cs"/>
              </a:rPr>
              <a:t>If you are using PolyBase, the external objects defined need to align the rows of the text files with the external table and file format definition. The data in each row of the text file must align with the table definition. To format the text files:</a:t>
            </a:r>
          </a:p>
          <a:p>
            <a:r>
              <a:rPr lang="en-US" sz="1200" b="0" i="0" kern="1200" dirty="0">
                <a:solidFill>
                  <a:schemeClr val="tx1"/>
                </a:solidFill>
                <a:effectLst/>
                <a:latin typeface="+mn-lt"/>
                <a:ea typeface="+mn-ea"/>
                <a:cs typeface="+mn-cs"/>
              </a:rPr>
              <a:t>If your data is coming from a non-relational source, you need to transform it into rows and columns. Whether the data is from a relational or non-relational source, the data must be transformed to align with the column definitions for the table into which you plan to load the data.</a:t>
            </a:r>
          </a:p>
          <a:p>
            <a:r>
              <a:rPr lang="en-US" sz="1200" b="0" i="0" kern="1200" dirty="0">
                <a:solidFill>
                  <a:schemeClr val="tx1"/>
                </a:solidFill>
                <a:effectLst/>
                <a:latin typeface="+mn-lt"/>
                <a:ea typeface="+mn-ea"/>
                <a:cs typeface="+mn-cs"/>
              </a:rPr>
              <a:t>Format data in the text file to align with the columns and data types in the destination table. Misalignment between data types in the external text files and the SQL pool table causes rows to be rejected during the load.</a:t>
            </a:r>
          </a:p>
          <a:p>
            <a:r>
              <a:rPr lang="en-US" sz="1200" b="0" i="0" kern="1200" dirty="0">
                <a:solidFill>
                  <a:schemeClr val="tx1"/>
                </a:solidFill>
                <a:effectLst/>
                <a:latin typeface="+mn-lt"/>
                <a:ea typeface="+mn-ea"/>
                <a:cs typeface="+mn-cs"/>
              </a:rPr>
              <a:t>Separate fields in the text file with a terminator. Be sure to use a character or a character sequence that isn't found in your source data. Use the terminator you specified with </a:t>
            </a:r>
            <a:r>
              <a:rPr lang="en-US" sz="1200" b="0" i="0" u="none" strike="noStrike" kern="1200" dirty="0">
                <a:solidFill>
                  <a:schemeClr val="tx1"/>
                </a:solidFill>
                <a:effectLst/>
                <a:latin typeface="+mn-lt"/>
                <a:ea typeface="+mn-ea"/>
                <a:cs typeface="+mn-cs"/>
                <a:hlinkClick r:id="rId4"/>
              </a:rPr>
              <a:t>CREATE EXTERNAL FILE FORMAT</a:t>
            </a:r>
            <a:r>
              <a:rPr lang="en-US" sz="1200" b="0" i="0" kern="1200" dirty="0">
                <a:solidFill>
                  <a:schemeClr val="tx1"/>
                </a:solidFill>
                <a:effectLst/>
                <a:latin typeface="+mn-lt"/>
                <a:ea typeface="+mn-ea"/>
                <a:cs typeface="+mn-cs"/>
              </a:rPr>
              <a:t>.</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6520447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ynapse-analytics/sql-data-warehouse/design-elt-data-loading#4-load-the-data-using-polybase-or-the-copy-statement</a:t>
            </a:r>
            <a:endParaRPr lang="en-US" dirty="0"/>
          </a:p>
          <a:p>
            <a:r>
              <a:rPr lang="en-US" sz="1200" b="1" i="0" kern="1200" dirty="0">
                <a:solidFill>
                  <a:schemeClr val="tx1"/>
                </a:solidFill>
                <a:effectLst/>
                <a:latin typeface="+mn-lt"/>
                <a:ea typeface="+mn-ea"/>
                <a:cs typeface="+mn-cs"/>
              </a:rPr>
              <a:t> </a:t>
            </a:r>
          </a:p>
          <a:p>
            <a:r>
              <a:rPr lang="en-US" sz="1200" b="1" i="0" kern="1200" dirty="0">
                <a:solidFill>
                  <a:schemeClr val="tx1"/>
                </a:solidFill>
                <a:effectLst/>
                <a:latin typeface="+mn-lt"/>
                <a:ea typeface="+mn-ea"/>
                <a:cs typeface="+mn-cs"/>
              </a:rPr>
              <a:t>Load the data using PolyBase or the COPY statement</a:t>
            </a:r>
          </a:p>
          <a:p>
            <a:r>
              <a:rPr lang="en-US" sz="1200" b="0" i="0" kern="1200" dirty="0">
                <a:solidFill>
                  <a:schemeClr val="tx1"/>
                </a:solidFill>
                <a:effectLst/>
                <a:latin typeface="+mn-lt"/>
                <a:ea typeface="+mn-ea"/>
                <a:cs typeface="+mn-cs"/>
              </a:rPr>
              <a:t>It is best practice to load data into a staging table. Staging tables allow you to handle errors without interfering with the production tables. A staging table also gives you the opportunity to use the SQL pool parallel processing architecture for data transformations before inserting the data into production tables.</a:t>
            </a:r>
          </a:p>
          <a:p>
            <a:endParaRPr lang="en-US" sz="1200" b="1"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Options for loading</a:t>
            </a:r>
          </a:p>
          <a:p>
            <a:r>
              <a:rPr lang="en-US" sz="1200" b="0" i="0" kern="1200" dirty="0">
                <a:solidFill>
                  <a:schemeClr val="tx1"/>
                </a:solidFill>
                <a:effectLst/>
                <a:latin typeface="+mn-lt"/>
                <a:ea typeface="+mn-ea"/>
                <a:cs typeface="+mn-cs"/>
              </a:rPr>
              <a:t>To load data, you can use any of these loading options:</a:t>
            </a:r>
          </a:p>
          <a:p>
            <a:r>
              <a:rPr lang="en-US" sz="1200" b="0" i="0" kern="1200" dirty="0">
                <a:solidFill>
                  <a:schemeClr val="tx1"/>
                </a:solidFill>
                <a:effectLst/>
                <a:latin typeface="+mn-lt"/>
                <a:ea typeface="+mn-ea"/>
                <a:cs typeface="+mn-cs"/>
              </a:rPr>
              <a:t>The </a:t>
            </a:r>
            <a:r>
              <a:rPr lang="en-US" sz="1200" b="0" i="0" u="none" strike="noStrike" kern="1200" dirty="0">
                <a:solidFill>
                  <a:schemeClr val="tx1"/>
                </a:solidFill>
                <a:effectLst/>
                <a:latin typeface="+mn-lt"/>
                <a:ea typeface="+mn-ea"/>
                <a:cs typeface="+mn-cs"/>
                <a:hlinkClick r:id="rId4"/>
              </a:rPr>
              <a:t>COPY statement</a:t>
            </a:r>
            <a:r>
              <a:rPr lang="en-US" sz="1200" b="0" i="0" kern="1200" dirty="0">
                <a:solidFill>
                  <a:schemeClr val="tx1"/>
                </a:solidFill>
                <a:effectLst/>
                <a:latin typeface="+mn-lt"/>
                <a:ea typeface="+mn-ea"/>
                <a:cs typeface="+mn-cs"/>
              </a:rPr>
              <a:t> is the recommended loading utility as it enables you to seamlessly and flexibly load data. The statement has many additional loading capabilities that PolyBase does not provide. </a:t>
            </a:r>
            <a:r>
              <a:rPr lang="en-US" dirty="0">
                <a:hlinkClick r:id="rId4"/>
              </a:rPr>
              <a:t>https://docs.microsoft.com/en-us/sql/t-sql/statements/copy-into-transact-sql?view=azure-sqldw-latest</a:t>
            </a:r>
            <a:endParaRPr lang="en-US" sz="1200" b="0" i="0"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hlinkClick r:id="rId5"/>
              </a:rPr>
              <a:t>PolyBase with T-SQL</a:t>
            </a:r>
            <a:r>
              <a:rPr lang="en-US" sz="1200" b="0" i="0" kern="1200" dirty="0">
                <a:solidFill>
                  <a:schemeClr val="tx1"/>
                </a:solidFill>
                <a:effectLst/>
                <a:latin typeface="+mn-lt"/>
                <a:ea typeface="+mn-ea"/>
                <a:cs typeface="+mn-cs"/>
              </a:rPr>
              <a:t> requires you to define external data objects.</a:t>
            </a:r>
          </a:p>
          <a:p>
            <a:r>
              <a:rPr lang="en-US" sz="1200" b="0" i="0" u="none" strike="noStrike" kern="1200" dirty="0">
                <a:solidFill>
                  <a:schemeClr val="tx1"/>
                </a:solidFill>
                <a:effectLst/>
                <a:latin typeface="+mn-lt"/>
                <a:ea typeface="+mn-ea"/>
                <a:cs typeface="+mn-cs"/>
                <a:hlinkClick r:id="rId6"/>
              </a:rPr>
              <a:t>PolyBase and COPY statement with Azure Data Factory (ADF)</a:t>
            </a:r>
            <a:r>
              <a:rPr lang="en-US" sz="1200" b="0" i="0" kern="1200" dirty="0">
                <a:solidFill>
                  <a:schemeClr val="tx1"/>
                </a:solidFill>
                <a:effectLst/>
                <a:latin typeface="+mn-lt"/>
                <a:ea typeface="+mn-ea"/>
                <a:cs typeface="+mn-cs"/>
              </a:rPr>
              <a:t> is another orchestration tool. It defines a pipeline and schedules jobs.</a:t>
            </a:r>
          </a:p>
          <a:p>
            <a:r>
              <a:rPr lang="en-US" sz="1200" b="0" i="0" u="none" strike="noStrike" kern="1200" dirty="0">
                <a:solidFill>
                  <a:schemeClr val="tx1"/>
                </a:solidFill>
                <a:effectLst/>
                <a:latin typeface="+mn-lt"/>
                <a:ea typeface="+mn-ea"/>
                <a:cs typeface="+mn-cs"/>
                <a:hlinkClick r:id="rId7"/>
              </a:rPr>
              <a:t>PolyBase with SSIS</a:t>
            </a:r>
            <a:r>
              <a:rPr lang="en-US" sz="1200" b="0" i="0" kern="1200" dirty="0">
                <a:solidFill>
                  <a:schemeClr val="tx1"/>
                </a:solidFill>
                <a:effectLst/>
                <a:latin typeface="+mn-lt"/>
                <a:ea typeface="+mn-ea"/>
                <a:cs typeface="+mn-cs"/>
              </a:rPr>
              <a:t> works well when your source data is in SQL Server. SSIS defines the source to destination table mappings, and also orchestrates the load. If you already have SSIS packages, you can modify the packages to work with the new data warehouse destination.</a:t>
            </a:r>
          </a:p>
          <a:p>
            <a:r>
              <a:rPr lang="en-US" sz="1200" b="0" i="0" u="none" strike="noStrike" kern="1200" dirty="0">
                <a:solidFill>
                  <a:schemeClr val="tx1"/>
                </a:solidFill>
                <a:effectLst/>
                <a:latin typeface="+mn-lt"/>
                <a:ea typeface="+mn-ea"/>
                <a:cs typeface="+mn-cs"/>
                <a:hlinkClick r:id="rId8"/>
              </a:rPr>
              <a:t>PolyBase with Azure Databricks</a:t>
            </a:r>
            <a:r>
              <a:rPr lang="en-US" sz="1200" b="0" i="0" kern="1200" dirty="0">
                <a:solidFill>
                  <a:schemeClr val="tx1"/>
                </a:solidFill>
                <a:effectLst/>
                <a:latin typeface="+mn-lt"/>
                <a:ea typeface="+mn-ea"/>
                <a:cs typeface="+mn-cs"/>
              </a:rPr>
              <a:t> transfers data from a table to a Databricks </a:t>
            </a:r>
            <a:r>
              <a:rPr lang="en-US" sz="1200" b="0" i="0" kern="1200" dirty="0" err="1">
                <a:solidFill>
                  <a:schemeClr val="tx1"/>
                </a:solidFill>
                <a:effectLst/>
                <a:latin typeface="+mn-lt"/>
                <a:ea typeface="+mn-ea"/>
                <a:cs typeface="+mn-cs"/>
              </a:rPr>
              <a:t>dataframe</a:t>
            </a:r>
            <a:r>
              <a:rPr lang="en-US" sz="1200" b="0" i="0" kern="1200" dirty="0">
                <a:solidFill>
                  <a:schemeClr val="tx1"/>
                </a:solidFill>
                <a:effectLst/>
                <a:latin typeface="+mn-lt"/>
                <a:ea typeface="+mn-ea"/>
                <a:cs typeface="+mn-cs"/>
              </a:rPr>
              <a:t> and/or writes data from a Databricks </a:t>
            </a:r>
            <a:r>
              <a:rPr lang="en-US" sz="1200" b="0" i="0" kern="1200" dirty="0" err="1">
                <a:solidFill>
                  <a:schemeClr val="tx1"/>
                </a:solidFill>
                <a:effectLst/>
                <a:latin typeface="+mn-lt"/>
                <a:ea typeface="+mn-ea"/>
                <a:cs typeface="+mn-cs"/>
              </a:rPr>
              <a:t>dataframe</a:t>
            </a:r>
            <a:r>
              <a:rPr lang="en-US" sz="1200" b="0" i="0" kern="1200" dirty="0">
                <a:solidFill>
                  <a:schemeClr val="tx1"/>
                </a:solidFill>
                <a:effectLst/>
                <a:latin typeface="+mn-lt"/>
                <a:ea typeface="+mn-ea"/>
                <a:cs typeface="+mn-cs"/>
              </a:rPr>
              <a:t> to a table using PolyBase.</a:t>
            </a:r>
          </a:p>
          <a:p>
            <a:endParaRPr lang="en-US" sz="1200" b="1"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Other loading options</a:t>
            </a:r>
          </a:p>
          <a:p>
            <a:r>
              <a:rPr lang="en-US" sz="1200" b="0" i="0" kern="1200" dirty="0">
                <a:solidFill>
                  <a:schemeClr val="tx1"/>
                </a:solidFill>
                <a:effectLst/>
                <a:latin typeface="+mn-lt"/>
                <a:ea typeface="+mn-ea"/>
                <a:cs typeface="+mn-cs"/>
              </a:rPr>
              <a:t>In addition to PolyBase and the COPY statement, you can use </a:t>
            </a:r>
            <a:r>
              <a:rPr lang="en-US" sz="1200" b="0" i="0" u="sng" kern="1200" dirty="0" err="1">
                <a:solidFill>
                  <a:schemeClr val="tx1"/>
                </a:solidFill>
                <a:effectLst/>
                <a:latin typeface="+mn-lt"/>
                <a:ea typeface="+mn-ea"/>
                <a:cs typeface="+mn-cs"/>
                <a:hlinkClick r:id="rId9"/>
              </a:rPr>
              <a:t>bcp</a:t>
            </a:r>
            <a:r>
              <a:rPr lang="en-US" sz="1200" b="0" i="0" kern="1200" dirty="0">
                <a:solidFill>
                  <a:schemeClr val="tx1"/>
                </a:solidFill>
                <a:effectLst/>
                <a:latin typeface="+mn-lt"/>
                <a:ea typeface="+mn-ea"/>
                <a:cs typeface="+mn-cs"/>
              </a:rPr>
              <a:t> or the </a:t>
            </a:r>
            <a:r>
              <a:rPr lang="en-US" sz="1200" b="0" i="0" u="sng" kern="1200" dirty="0" err="1">
                <a:solidFill>
                  <a:schemeClr val="tx1"/>
                </a:solidFill>
                <a:effectLst/>
                <a:latin typeface="+mn-lt"/>
                <a:ea typeface="+mn-ea"/>
                <a:cs typeface="+mn-cs"/>
                <a:hlinkClick r:id="rId10"/>
              </a:rPr>
              <a:t>SqlBulkCopy</a:t>
            </a:r>
            <a:r>
              <a:rPr lang="en-US" sz="1200" b="0" i="0" u="sng" kern="1200" dirty="0">
                <a:solidFill>
                  <a:schemeClr val="tx1"/>
                </a:solidFill>
                <a:effectLst/>
                <a:latin typeface="+mn-lt"/>
                <a:ea typeface="+mn-ea"/>
                <a:cs typeface="+mn-cs"/>
                <a:hlinkClick r:id="rId10"/>
              </a:rPr>
              <a:t> API</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bcp</a:t>
            </a:r>
            <a:r>
              <a:rPr lang="en-US" sz="1200" b="0" i="0" kern="1200" dirty="0">
                <a:solidFill>
                  <a:schemeClr val="tx1"/>
                </a:solidFill>
                <a:effectLst/>
                <a:latin typeface="+mn-lt"/>
                <a:ea typeface="+mn-ea"/>
                <a:cs typeface="+mn-cs"/>
              </a:rPr>
              <a:t> loads directly to the database without going through Azure Blob storage, and is intended only for small loads.</a:t>
            </a:r>
          </a:p>
          <a:p>
            <a:r>
              <a:rPr lang="en-US" sz="1200" b="1" i="0" kern="1200" dirty="0">
                <a:solidFill>
                  <a:schemeClr val="tx1"/>
                </a:solidFill>
                <a:effectLst/>
                <a:latin typeface="+mn-lt"/>
                <a:ea typeface="+mn-ea"/>
                <a:cs typeface="+mn-cs"/>
              </a:rPr>
              <a:t> </a:t>
            </a:r>
          </a:p>
          <a:p>
            <a:r>
              <a:rPr lang="en-US" sz="1200" b="1" i="0" kern="1200" dirty="0">
                <a:solidFill>
                  <a:schemeClr val="tx1"/>
                </a:solidFill>
                <a:effectLst/>
                <a:latin typeface="+mn-lt"/>
                <a:ea typeface="+mn-ea"/>
                <a:cs typeface="+mn-cs"/>
              </a:rPr>
              <a:t>Note</a:t>
            </a:r>
          </a:p>
          <a:p>
            <a:r>
              <a:rPr lang="en-US" sz="1200" b="0" i="0" kern="1200" dirty="0">
                <a:solidFill>
                  <a:schemeClr val="tx1"/>
                </a:solidFill>
                <a:effectLst/>
                <a:latin typeface="+mn-lt"/>
                <a:ea typeface="+mn-ea"/>
                <a:cs typeface="+mn-cs"/>
              </a:rPr>
              <a:t>The load performance of these options is slower than PolyBase and the COPY statement.</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dirty="0"/>
          </a:p>
        </p:txBody>
      </p:sp>
    </p:spTree>
    <p:extLst>
      <p:ext uri="{BB962C8B-B14F-4D97-AF65-F5344CB8AC3E}">
        <p14:creationId xmlns:p14="http://schemas.microsoft.com/office/powerpoint/2010/main" val="29748237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Transform the data</a:t>
            </a:r>
          </a:p>
          <a:p>
            <a:r>
              <a:rPr lang="en-US" sz="1200" b="0" i="0" kern="1200" dirty="0">
                <a:solidFill>
                  <a:schemeClr val="tx1"/>
                </a:solidFill>
                <a:effectLst/>
                <a:latin typeface="+mn-lt"/>
                <a:ea typeface="+mn-ea"/>
                <a:cs typeface="+mn-cs"/>
              </a:rPr>
              <a:t>While data is in the staging table, perform transformations that your workload requires. Then move the data into a production table.</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dirty="0"/>
          </a:p>
        </p:txBody>
      </p:sp>
    </p:spTree>
    <p:extLst>
      <p:ext uri="{BB962C8B-B14F-4D97-AF65-F5344CB8AC3E}">
        <p14:creationId xmlns:p14="http://schemas.microsoft.com/office/powerpoint/2010/main" val="2858116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Insert the data into production tables</a:t>
            </a:r>
          </a:p>
          <a:p>
            <a:r>
              <a:rPr lang="en-US" sz="1200" b="0" i="0" kern="1200" dirty="0">
                <a:solidFill>
                  <a:schemeClr val="tx1"/>
                </a:solidFill>
                <a:effectLst/>
                <a:latin typeface="+mn-lt"/>
                <a:ea typeface="+mn-ea"/>
                <a:cs typeface="+mn-cs"/>
              </a:rPr>
              <a:t>The INSERT INTO ... SELECT statement moves the data from the staging table to the permanent table.</a:t>
            </a:r>
          </a:p>
          <a:p>
            <a:r>
              <a:rPr lang="en-US" sz="1200" b="0" i="0" kern="1200" dirty="0">
                <a:solidFill>
                  <a:schemeClr val="tx1"/>
                </a:solidFill>
                <a:effectLst/>
                <a:latin typeface="+mn-lt"/>
                <a:ea typeface="+mn-ea"/>
                <a:cs typeface="+mn-cs"/>
              </a:rPr>
              <a:t>As you design an ETL process, try running the process on a small test sample. Try extracting 1000 rows from the table to a file, move it to Azure, and then try loading it into a staging table.</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dirty="0"/>
          </a:p>
        </p:txBody>
      </p:sp>
    </p:spTree>
    <p:extLst>
      <p:ext uri="{BB962C8B-B14F-4D97-AF65-F5344CB8AC3E}">
        <p14:creationId xmlns:p14="http://schemas.microsoft.com/office/powerpoint/2010/main" val="36279495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ynapse-analytics/sql-data-warehouse/guidance-for-loading-data</a:t>
            </a:r>
            <a:endParaRPr lang="en-US" dirty="0"/>
          </a:p>
          <a:p>
            <a:endParaRPr lang="en-US" dirty="0"/>
          </a:p>
          <a:p>
            <a:r>
              <a:rPr lang="en-US" dirty="0"/>
              <a:t>This is straight from our Best Practices documents</a:t>
            </a:r>
          </a:p>
          <a:p>
            <a:endParaRPr lang="en-US" dirty="0"/>
          </a:p>
          <a:p>
            <a:r>
              <a:rPr lang="en-US" dirty="0"/>
              <a:t>Don’t focus on this slide – this is a header, details in the following slides.</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7</a:t>
            </a:fld>
            <a:endParaRPr lang="en-US" noProof="0" dirty="0"/>
          </a:p>
        </p:txBody>
      </p:sp>
    </p:spTree>
    <p:extLst>
      <p:ext uri="{BB962C8B-B14F-4D97-AF65-F5344CB8AC3E}">
        <p14:creationId xmlns:p14="http://schemas.microsoft.com/office/powerpoint/2010/main" val="37261180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ynapse-analytics/sql-data-warehouse/guidance-for-loading-data#preparing-data-in-azure-storage</a:t>
            </a:r>
            <a:endParaRPr lang="en-US" dirty="0"/>
          </a:p>
          <a:p>
            <a:endParaRPr lang="en-US" dirty="0"/>
          </a:p>
          <a:p>
            <a:r>
              <a:rPr lang="en-US" sz="1200" b="0" i="0" kern="1200" dirty="0">
                <a:solidFill>
                  <a:schemeClr val="tx1"/>
                </a:solidFill>
                <a:effectLst/>
                <a:latin typeface="+mn-lt"/>
                <a:ea typeface="+mn-ea"/>
                <a:cs typeface="+mn-cs"/>
              </a:rPr>
              <a:t>To minimize latency, co-locate your storage layer and your SQL pool in the same region</a:t>
            </a:r>
          </a:p>
          <a:p>
            <a:r>
              <a:rPr lang="en-US" sz="1200" b="0" i="0" kern="1200" dirty="0">
                <a:solidFill>
                  <a:schemeClr val="tx1"/>
                </a:solidFill>
                <a:effectLst/>
                <a:latin typeface="+mn-lt"/>
                <a:ea typeface="+mn-ea"/>
                <a:cs typeface="+mn-cs"/>
              </a:rPr>
              <a:t>When exporting data into an ORC File Format, you might get Java out-of-memory errors when there are large text columns. To work around this limitation, export only a subset of the columns.</a:t>
            </a:r>
          </a:p>
          <a:p>
            <a:r>
              <a:rPr lang="en-US" sz="1200" b="0" i="0" kern="1200" dirty="0">
                <a:solidFill>
                  <a:schemeClr val="tx1"/>
                </a:solidFill>
                <a:effectLst/>
                <a:latin typeface="+mn-lt"/>
                <a:ea typeface="+mn-ea"/>
                <a:cs typeface="+mn-cs"/>
              </a:rPr>
              <a:t>All file formats have different performance characteristics. For the fastest load, use compressed delimited text files. The difference between UTF-8 and UTF-16 performance is minimal.</a:t>
            </a:r>
          </a:p>
          <a:p>
            <a:r>
              <a:rPr lang="en-US" sz="1200" b="0" i="0" kern="1200" dirty="0">
                <a:solidFill>
                  <a:schemeClr val="tx1"/>
                </a:solidFill>
                <a:effectLst/>
                <a:latin typeface="+mn-lt"/>
                <a:ea typeface="+mn-ea"/>
                <a:cs typeface="+mn-cs"/>
              </a:rPr>
              <a:t>Split large compressed files into smaller compressed fil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o match the amount of readers use the # of computes * 8</a:t>
            </a:r>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95201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ynapse-analytics/sql-data-warehouse/guidance-for-loading-data#running-loads-with-enough-compute</a:t>
            </a:r>
            <a:endParaRPr lang="en-US" dirty="0"/>
          </a:p>
          <a:p>
            <a:endParaRPr lang="en-US" dirty="0"/>
          </a:p>
          <a:p>
            <a:r>
              <a:rPr lang="en-US" sz="1200" b="1" i="0" kern="1200" dirty="0">
                <a:solidFill>
                  <a:schemeClr val="tx1"/>
                </a:solidFill>
                <a:effectLst/>
                <a:latin typeface="+mn-lt"/>
                <a:ea typeface="+mn-ea"/>
                <a:cs typeface="+mn-cs"/>
              </a:rPr>
              <a:t>Running loads with enough compute</a:t>
            </a:r>
          </a:p>
          <a:p>
            <a:r>
              <a:rPr lang="en-US" sz="1200" b="0" i="0" kern="1200" dirty="0">
                <a:solidFill>
                  <a:schemeClr val="tx1"/>
                </a:solidFill>
                <a:effectLst/>
                <a:latin typeface="+mn-lt"/>
                <a:ea typeface="+mn-ea"/>
                <a:cs typeface="+mn-cs"/>
              </a:rPr>
              <a:t>For fastest loading speed, run only one load job at a time. If that isn't feasible, run a minimal number of loads concurrently. If you expect a large loading job, consider scaling up your SQL pool before the load.</a:t>
            </a:r>
          </a:p>
          <a:p>
            <a:r>
              <a:rPr lang="en-US" sz="1200" b="0" i="0" kern="1200" dirty="0">
                <a:solidFill>
                  <a:schemeClr val="tx1"/>
                </a:solidFill>
                <a:effectLst/>
                <a:latin typeface="+mn-lt"/>
                <a:ea typeface="+mn-ea"/>
                <a:cs typeface="+mn-cs"/>
              </a:rPr>
              <a:t>To run loads with appropriate compute resources, create loading users designated for running loads. Classify each loading user to a specific workload group. To run a load, sign in as one of the loading users, and then run the load. The load runs with the user's workload group.</a:t>
            </a:r>
          </a:p>
          <a:p>
            <a:r>
              <a:rPr lang="en-US" sz="1200" b="1" i="0" kern="1200" dirty="0">
                <a:solidFill>
                  <a:schemeClr val="tx1"/>
                </a:solidFill>
                <a:effectLst/>
                <a:latin typeface="+mn-lt"/>
                <a:ea typeface="+mn-ea"/>
                <a:cs typeface="+mn-cs"/>
              </a:rPr>
              <a:t>Example of creating a loading user</a:t>
            </a:r>
          </a:p>
          <a:p>
            <a:r>
              <a:rPr lang="en-US" sz="1200" b="0" i="0" kern="1200" dirty="0">
                <a:solidFill>
                  <a:schemeClr val="tx1"/>
                </a:solidFill>
                <a:effectLst/>
                <a:latin typeface="+mn-lt"/>
                <a:ea typeface="+mn-ea"/>
                <a:cs typeface="+mn-cs"/>
              </a:rPr>
              <a:t>This example creates a loading user classified to a specific workload group. The first step is to </a:t>
            </a:r>
            <a:r>
              <a:rPr lang="en-US" sz="1200" b="1" i="0" kern="1200" dirty="0">
                <a:solidFill>
                  <a:schemeClr val="tx1"/>
                </a:solidFill>
                <a:effectLst/>
                <a:latin typeface="+mn-lt"/>
                <a:ea typeface="+mn-ea"/>
                <a:cs typeface="+mn-cs"/>
              </a:rPr>
              <a:t>connect to master</a:t>
            </a:r>
            <a:r>
              <a:rPr lang="en-US" sz="1200" b="0" i="0" kern="1200" dirty="0">
                <a:solidFill>
                  <a:schemeClr val="tx1"/>
                </a:solidFill>
                <a:effectLst/>
                <a:latin typeface="+mn-lt"/>
                <a:ea typeface="+mn-ea"/>
                <a:cs typeface="+mn-cs"/>
              </a:rPr>
              <a:t> and create a login.</a:t>
            </a:r>
          </a:p>
          <a:p>
            <a:r>
              <a:rPr lang="en-US" sz="1200" b="0" i="0" kern="1200" dirty="0" err="1">
                <a:solidFill>
                  <a:schemeClr val="tx1"/>
                </a:solidFill>
                <a:effectLst/>
                <a:latin typeface="+mn-lt"/>
                <a:ea typeface="+mn-ea"/>
                <a:cs typeface="+mn-cs"/>
              </a:rPr>
              <a:t>SQLCopy</a:t>
            </a:r>
            <a:endParaRPr lang="en-US" sz="1200" b="0" i="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Connect to master</a:t>
            </a:r>
            <a:r>
              <a:rPr lang="en-US" dirty="0">
                <a:effectLst/>
              </a:rPr>
              <a:t> </a:t>
            </a:r>
            <a:r>
              <a:rPr lang="en-US" sz="1200" kern="1200" dirty="0">
                <a:solidFill>
                  <a:schemeClr val="tx1"/>
                </a:solidFill>
                <a:effectLst/>
                <a:latin typeface="+mn-lt"/>
                <a:ea typeface="+mn-ea"/>
                <a:cs typeface="+mn-cs"/>
              </a:rPr>
              <a:t>CREATE</a:t>
            </a:r>
            <a:r>
              <a:rPr lang="en-US" dirty="0">
                <a:effectLst/>
              </a:rPr>
              <a:t> LOGIN loader </a:t>
            </a:r>
            <a:r>
              <a:rPr lang="en-US" sz="1200" kern="1200" dirty="0">
                <a:solidFill>
                  <a:schemeClr val="tx1"/>
                </a:solidFill>
                <a:effectLst/>
                <a:latin typeface="+mn-lt"/>
                <a:ea typeface="+mn-ea"/>
                <a:cs typeface="+mn-cs"/>
              </a:rPr>
              <a:t>WITH</a:t>
            </a:r>
            <a:r>
              <a:rPr lang="en-US" dirty="0">
                <a:effectLst/>
              </a:rPr>
              <a:t> </a:t>
            </a:r>
            <a:r>
              <a:rPr lang="en-US" sz="1200" kern="1200" dirty="0">
                <a:solidFill>
                  <a:schemeClr val="tx1"/>
                </a:solidFill>
                <a:effectLst/>
                <a:latin typeface="+mn-lt"/>
                <a:ea typeface="+mn-ea"/>
                <a:cs typeface="+mn-cs"/>
              </a:rPr>
              <a:t>PASSWORD</a:t>
            </a:r>
            <a:r>
              <a:rPr lang="en-US" dirty="0">
                <a:effectLst/>
              </a:rPr>
              <a:t> = </a:t>
            </a:r>
            <a:r>
              <a:rPr lang="en-US" sz="1200" kern="1200" dirty="0">
                <a:solidFill>
                  <a:schemeClr val="tx1"/>
                </a:solidFill>
                <a:effectLst/>
                <a:latin typeface="+mn-lt"/>
                <a:ea typeface="+mn-ea"/>
                <a:cs typeface="+mn-cs"/>
              </a:rPr>
              <a:t>'a123STRONGpassword!'</a:t>
            </a:r>
            <a:r>
              <a:rPr lang="en-US" dirty="0">
                <a:effectLst/>
              </a:rPr>
              <a:t>; </a:t>
            </a:r>
            <a:r>
              <a:rPr lang="en-US" sz="1200" b="0" i="0" kern="1200" dirty="0">
                <a:solidFill>
                  <a:schemeClr val="tx1"/>
                </a:solidFill>
                <a:effectLst/>
                <a:latin typeface="+mn-lt"/>
                <a:ea typeface="+mn-ea"/>
                <a:cs typeface="+mn-cs"/>
              </a:rPr>
              <a:t>Connect to the SQL pool and create a user. The following code assumes you're connected to the database called </a:t>
            </a:r>
            <a:r>
              <a:rPr lang="en-US" sz="1200" b="0" i="0" kern="1200" dirty="0" err="1">
                <a:solidFill>
                  <a:schemeClr val="tx1"/>
                </a:solidFill>
                <a:effectLst/>
                <a:latin typeface="+mn-lt"/>
                <a:ea typeface="+mn-ea"/>
                <a:cs typeface="+mn-cs"/>
              </a:rPr>
              <a:t>mySampleDataWarehouse</a:t>
            </a:r>
            <a:r>
              <a:rPr lang="en-US" sz="1200" b="0" i="0" kern="1200" dirty="0">
                <a:solidFill>
                  <a:schemeClr val="tx1"/>
                </a:solidFill>
                <a:effectLst/>
                <a:latin typeface="+mn-lt"/>
                <a:ea typeface="+mn-ea"/>
                <a:cs typeface="+mn-cs"/>
              </a:rPr>
              <a:t>. It shows how to create a user called loader and gives the user permissions to create tables and load using the </a:t>
            </a:r>
            <a:r>
              <a:rPr lang="en-US" sz="1200" b="0" i="0" u="sng" kern="1200" dirty="0">
                <a:solidFill>
                  <a:schemeClr val="tx1"/>
                </a:solidFill>
                <a:effectLst/>
                <a:latin typeface="+mn-lt"/>
                <a:ea typeface="+mn-ea"/>
                <a:cs typeface="+mn-cs"/>
                <a:hlinkClick r:id="rId4"/>
              </a:rPr>
              <a:t>COPY statement</a:t>
            </a:r>
            <a:r>
              <a:rPr lang="en-US" sz="1200" b="0" i="0" kern="1200" dirty="0">
                <a:solidFill>
                  <a:schemeClr val="tx1"/>
                </a:solidFill>
                <a:effectLst/>
                <a:latin typeface="+mn-lt"/>
                <a:ea typeface="+mn-ea"/>
                <a:cs typeface="+mn-cs"/>
              </a:rPr>
              <a:t>. Then it classifies the user to the </a:t>
            </a:r>
            <a:r>
              <a:rPr lang="en-US" sz="1200" b="0" i="0" kern="1200" dirty="0" err="1">
                <a:solidFill>
                  <a:schemeClr val="tx1"/>
                </a:solidFill>
                <a:effectLst/>
                <a:latin typeface="+mn-lt"/>
                <a:ea typeface="+mn-ea"/>
                <a:cs typeface="+mn-cs"/>
              </a:rPr>
              <a:t>DataLoads</a:t>
            </a:r>
            <a:r>
              <a:rPr lang="en-US" sz="1200" b="0" i="0" kern="1200" dirty="0">
                <a:solidFill>
                  <a:schemeClr val="tx1"/>
                </a:solidFill>
                <a:effectLst/>
                <a:latin typeface="+mn-lt"/>
                <a:ea typeface="+mn-ea"/>
                <a:cs typeface="+mn-cs"/>
              </a:rPr>
              <a:t> workload group with maximum resources.</a:t>
            </a:r>
          </a:p>
          <a:p>
            <a:r>
              <a:rPr lang="en-US" sz="1200" b="0" i="0" kern="1200" dirty="0" err="1">
                <a:solidFill>
                  <a:schemeClr val="tx1"/>
                </a:solidFill>
                <a:effectLst/>
                <a:latin typeface="+mn-lt"/>
                <a:ea typeface="+mn-ea"/>
                <a:cs typeface="+mn-cs"/>
              </a:rPr>
              <a:t>SQLCopy</a:t>
            </a:r>
            <a:endParaRPr lang="en-US" sz="1200" b="0" i="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Connect to the SQL pool</a:t>
            </a:r>
            <a:r>
              <a:rPr lang="en-US" dirty="0">
                <a:effectLst/>
              </a:rPr>
              <a:t> </a:t>
            </a:r>
            <a:r>
              <a:rPr lang="en-US" sz="1200" kern="1200" dirty="0">
                <a:solidFill>
                  <a:schemeClr val="tx1"/>
                </a:solidFill>
                <a:effectLst/>
                <a:latin typeface="+mn-lt"/>
                <a:ea typeface="+mn-ea"/>
                <a:cs typeface="+mn-cs"/>
              </a:rPr>
              <a:t>CREATE</a:t>
            </a:r>
            <a:r>
              <a:rPr lang="en-US" dirty="0">
                <a:effectLst/>
              </a:rPr>
              <a:t> </a:t>
            </a:r>
            <a:r>
              <a:rPr lang="en-US" sz="1200" kern="1200" dirty="0">
                <a:solidFill>
                  <a:schemeClr val="tx1"/>
                </a:solidFill>
                <a:effectLst/>
                <a:latin typeface="+mn-lt"/>
                <a:ea typeface="+mn-ea"/>
                <a:cs typeface="+mn-cs"/>
              </a:rPr>
              <a:t>USER</a:t>
            </a:r>
            <a:r>
              <a:rPr lang="en-US" dirty="0">
                <a:effectLst/>
              </a:rPr>
              <a:t> loader </a:t>
            </a:r>
            <a:r>
              <a:rPr lang="en-US" sz="1200" kern="1200" dirty="0">
                <a:solidFill>
                  <a:schemeClr val="tx1"/>
                </a:solidFill>
                <a:effectLst/>
                <a:latin typeface="+mn-lt"/>
                <a:ea typeface="+mn-ea"/>
                <a:cs typeface="+mn-cs"/>
              </a:rPr>
              <a:t>FOR</a:t>
            </a:r>
            <a:r>
              <a:rPr lang="en-US" dirty="0">
                <a:effectLst/>
              </a:rPr>
              <a:t> LOGIN loader; </a:t>
            </a:r>
            <a:r>
              <a:rPr lang="en-US" sz="1200" kern="1200" dirty="0">
                <a:solidFill>
                  <a:schemeClr val="tx1"/>
                </a:solidFill>
                <a:effectLst/>
                <a:latin typeface="+mn-lt"/>
                <a:ea typeface="+mn-ea"/>
                <a:cs typeface="+mn-cs"/>
              </a:rPr>
              <a:t>GRANT</a:t>
            </a:r>
            <a:r>
              <a:rPr lang="en-US" dirty="0">
                <a:effectLst/>
              </a:rPr>
              <a:t> </a:t>
            </a:r>
            <a:r>
              <a:rPr lang="en-US" sz="1200" kern="1200" dirty="0">
                <a:solidFill>
                  <a:schemeClr val="tx1"/>
                </a:solidFill>
                <a:effectLst/>
                <a:latin typeface="+mn-lt"/>
                <a:ea typeface="+mn-ea"/>
                <a:cs typeface="+mn-cs"/>
              </a:rPr>
              <a:t>ADMINISTER</a:t>
            </a:r>
            <a:r>
              <a:rPr lang="en-US" dirty="0">
                <a:effectLst/>
              </a:rPr>
              <a:t> </a:t>
            </a:r>
            <a:r>
              <a:rPr lang="en-US" sz="1200" kern="1200" dirty="0">
                <a:solidFill>
                  <a:schemeClr val="tx1"/>
                </a:solidFill>
                <a:effectLst/>
                <a:latin typeface="+mn-lt"/>
                <a:ea typeface="+mn-ea"/>
                <a:cs typeface="+mn-cs"/>
              </a:rPr>
              <a:t>DATABASE</a:t>
            </a:r>
            <a:r>
              <a:rPr lang="en-US" dirty="0">
                <a:effectLst/>
              </a:rPr>
              <a:t> </a:t>
            </a:r>
            <a:r>
              <a:rPr lang="en-US" sz="1200" kern="1200" dirty="0">
                <a:solidFill>
                  <a:schemeClr val="tx1"/>
                </a:solidFill>
                <a:effectLst/>
                <a:latin typeface="+mn-lt"/>
                <a:ea typeface="+mn-ea"/>
                <a:cs typeface="+mn-cs"/>
              </a:rPr>
              <a:t>BULK</a:t>
            </a:r>
            <a:r>
              <a:rPr lang="en-US" dirty="0">
                <a:effectLst/>
              </a:rPr>
              <a:t> </a:t>
            </a:r>
            <a:r>
              <a:rPr lang="en-US" sz="1200" kern="1200" dirty="0">
                <a:solidFill>
                  <a:schemeClr val="tx1"/>
                </a:solidFill>
                <a:effectLst/>
                <a:latin typeface="+mn-lt"/>
                <a:ea typeface="+mn-ea"/>
                <a:cs typeface="+mn-cs"/>
              </a:rPr>
              <a:t>OPERATIONS</a:t>
            </a:r>
            <a:r>
              <a:rPr lang="en-US" dirty="0">
                <a:effectLst/>
              </a:rPr>
              <a:t> </a:t>
            </a:r>
            <a:r>
              <a:rPr lang="en-US" sz="1200" kern="1200" dirty="0">
                <a:solidFill>
                  <a:schemeClr val="tx1"/>
                </a:solidFill>
                <a:effectLst/>
                <a:latin typeface="+mn-lt"/>
                <a:ea typeface="+mn-ea"/>
                <a:cs typeface="+mn-cs"/>
              </a:rPr>
              <a:t>TO</a:t>
            </a:r>
            <a:r>
              <a:rPr lang="en-US" dirty="0">
                <a:effectLst/>
              </a:rPr>
              <a:t> loader; </a:t>
            </a:r>
            <a:r>
              <a:rPr lang="en-US" sz="1200" kern="1200" dirty="0">
                <a:solidFill>
                  <a:schemeClr val="tx1"/>
                </a:solidFill>
                <a:effectLst/>
                <a:latin typeface="+mn-lt"/>
                <a:ea typeface="+mn-ea"/>
                <a:cs typeface="+mn-cs"/>
              </a:rPr>
              <a:t>GRANT</a:t>
            </a:r>
            <a:r>
              <a:rPr lang="en-US" dirty="0">
                <a:effectLst/>
              </a:rPr>
              <a:t> </a:t>
            </a:r>
            <a:r>
              <a:rPr lang="en-US" sz="1200" kern="1200" dirty="0">
                <a:solidFill>
                  <a:schemeClr val="tx1"/>
                </a:solidFill>
                <a:effectLst/>
                <a:latin typeface="+mn-lt"/>
                <a:ea typeface="+mn-ea"/>
                <a:cs typeface="+mn-cs"/>
              </a:rPr>
              <a:t>INSERT</a:t>
            </a:r>
            <a:r>
              <a:rPr lang="en-US" dirty="0">
                <a:effectLst/>
              </a:rPr>
              <a:t> </a:t>
            </a:r>
            <a:r>
              <a:rPr lang="en-US" sz="1200" kern="1200" dirty="0">
                <a:solidFill>
                  <a:schemeClr val="tx1"/>
                </a:solidFill>
                <a:effectLst/>
                <a:latin typeface="+mn-lt"/>
                <a:ea typeface="+mn-ea"/>
                <a:cs typeface="+mn-cs"/>
              </a:rPr>
              <a:t>ON</a:t>
            </a:r>
            <a:r>
              <a:rPr lang="en-US" dirty="0">
                <a:effectLst/>
              </a:rPr>
              <a:t> &lt;</a:t>
            </a:r>
            <a:r>
              <a:rPr lang="en-US" dirty="0" err="1">
                <a:effectLst/>
              </a:rPr>
              <a:t>yourtablename</a:t>
            </a:r>
            <a:r>
              <a:rPr lang="en-US" dirty="0">
                <a:effectLst/>
              </a:rPr>
              <a:t>&gt; </a:t>
            </a:r>
            <a:r>
              <a:rPr lang="en-US" sz="1200" kern="1200" dirty="0">
                <a:solidFill>
                  <a:schemeClr val="tx1"/>
                </a:solidFill>
                <a:effectLst/>
                <a:latin typeface="+mn-lt"/>
                <a:ea typeface="+mn-ea"/>
                <a:cs typeface="+mn-cs"/>
              </a:rPr>
              <a:t>TO</a:t>
            </a:r>
            <a:r>
              <a:rPr lang="en-US" dirty="0">
                <a:effectLst/>
              </a:rPr>
              <a:t> loader; </a:t>
            </a:r>
            <a:r>
              <a:rPr lang="en-US" sz="1200" kern="1200" dirty="0">
                <a:solidFill>
                  <a:schemeClr val="tx1"/>
                </a:solidFill>
                <a:effectLst/>
                <a:latin typeface="+mn-lt"/>
                <a:ea typeface="+mn-ea"/>
                <a:cs typeface="+mn-cs"/>
              </a:rPr>
              <a:t>GRANT</a:t>
            </a:r>
            <a:r>
              <a:rPr lang="en-US" dirty="0">
                <a:effectLst/>
              </a:rPr>
              <a:t> </a:t>
            </a:r>
            <a:r>
              <a:rPr lang="en-US" sz="1200" kern="1200" dirty="0">
                <a:solidFill>
                  <a:schemeClr val="tx1"/>
                </a:solidFill>
                <a:effectLst/>
                <a:latin typeface="+mn-lt"/>
                <a:ea typeface="+mn-ea"/>
                <a:cs typeface="+mn-cs"/>
              </a:rPr>
              <a:t>SELECT</a:t>
            </a:r>
            <a:r>
              <a:rPr lang="en-US" dirty="0">
                <a:effectLst/>
              </a:rPr>
              <a:t> </a:t>
            </a:r>
            <a:r>
              <a:rPr lang="en-US" sz="1200" kern="1200" dirty="0">
                <a:solidFill>
                  <a:schemeClr val="tx1"/>
                </a:solidFill>
                <a:effectLst/>
                <a:latin typeface="+mn-lt"/>
                <a:ea typeface="+mn-ea"/>
                <a:cs typeface="+mn-cs"/>
              </a:rPr>
              <a:t>ON</a:t>
            </a:r>
            <a:r>
              <a:rPr lang="en-US" dirty="0">
                <a:effectLst/>
              </a:rPr>
              <a:t> &lt;</a:t>
            </a:r>
            <a:r>
              <a:rPr lang="en-US" dirty="0" err="1">
                <a:effectLst/>
              </a:rPr>
              <a:t>yourtablename</a:t>
            </a:r>
            <a:r>
              <a:rPr lang="en-US" dirty="0">
                <a:effectLst/>
              </a:rPr>
              <a:t>&gt; </a:t>
            </a:r>
            <a:r>
              <a:rPr lang="en-US" sz="1200" kern="1200" dirty="0">
                <a:solidFill>
                  <a:schemeClr val="tx1"/>
                </a:solidFill>
                <a:effectLst/>
                <a:latin typeface="+mn-lt"/>
                <a:ea typeface="+mn-ea"/>
                <a:cs typeface="+mn-cs"/>
              </a:rPr>
              <a:t>TO</a:t>
            </a:r>
            <a:r>
              <a:rPr lang="en-US" dirty="0">
                <a:effectLst/>
              </a:rPr>
              <a:t> loader; </a:t>
            </a:r>
            <a:r>
              <a:rPr lang="en-US" sz="1200" kern="1200" dirty="0">
                <a:solidFill>
                  <a:schemeClr val="tx1"/>
                </a:solidFill>
                <a:effectLst/>
                <a:latin typeface="+mn-lt"/>
                <a:ea typeface="+mn-ea"/>
                <a:cs typeface="+mn-cs"/>
              </a:rPr>
              <a:t>GRANT</a:t>
            </a:r>
            <a:r>
              <a:rPr lang="en-US" dirty="0">
                <a:effectLst/>
              </a:rPr>
              <a:t> </a:t>
            </a:r>
            <a:r>
              <a:rPr lang="en-US" sz="1200" kern="1200" dirty="0">
                <a:solidFill>
                  <a:schemeClr val="tx1"/>
                </a:solidFill>
                <a:effectLst/>
                <a:latin typeface="+mn-lt"/>
                <a:ea typeface="+mn-ea"/>
                <a:cs typeface="+mn-cs"/>
              </a:rPr>
              <a:t>CREATE</a:t>
            </a:r>
            <a:r>
              <a:rPr lang="en-US" dirty="0">
                <a:effectLst/>
              </a:rPr>
              <a:t> </a:t>
            </a:r>
            <a:r>
              <a:rPr lang="en-US" sz="1200" kern="1200" dirty="0">
                <a:solidFill>
                  <a:schemeClr val="tx1"/>
                </a:solidFill>
                <a:effectLst/>
                <a:latin typeface="+mn-lt"/>
                <a:ea typeface="+mn-ea"/>
                <a:cs typeface="+mn-cs"/>
              </a:rPr>
              <a:t>TABLE</a:t>
            </a:r>
            <a:r>
              <a:rPr lang="en-US" dirty="0">
                <a:effectLst/>
              </a:rPr>
              <a:t> </a:t>
            </a:r>
            <a:r>
              <a:rPr lang="en-US" sz="1200" kern="1200" dirty="0">
                <a:solidFill>
                  <a:schemeClr val="tx1"/>
                </a:solidFill>
                <a:effectLst/>
                <a:latin typeface="+mn-lt"/>
                <a:ea typeface="+mn-ea"/>
                <a:cs typeface="+mn-cs"/>
              </a:rPr>
              <a:t>TO</a:t>
            </a:r>
            <a:r>
              <a:rPr lang="en-US" dirty="0">
                <a:effectLst/>
              </a:rPr>
              <a:t> loader; </a:t>
            </a:r>
            <a:r>
              <a:rPr lang="en-US" sz="1200" kern="1200" dirty="0">
                <a:solidFill>
                  <a:schemeClr val="tx1"/>
                </a:solidFill>
                <a:effectLst/>
                <a:latin typeface="+mn-lt"/>
                <a:ea typeface="+mn-ea"/>
                <a:cs typeface="+mn-cs"/>
              </a:rPr>
              <a:t>GRANT</a:t>
            </a:r>
            <a:r>
              <a:rPr lang="en-US" dirty="0">
                <a:effectLst/>
              </a:rPr>
              <a:t> </a:t>
            </a:r>
            <a:r>
              <a:rPr lang="en-US" sz="1200" kern="1200" dirty="0">
                <a:solidFill>
                  <a:schemeClr val="tx1"/>
                </a:solidFill>
                <a:effectLst/>
                <a:latin typeface="+mn-lt"/>
                <a:ea typeface="+mn-ea"/>
                <a:cs typeface="+mn-cs"/>
              </a:rPr>
              <a:t>ALTER</a:t>
            </a:r>
            <a:r>
              <a:rPr lang="en-US" dirty="0">
                <a:effectLst/>
              </a:rPr>
              <a:t> </a:t>
            </a:r>
            <a:r>
              <a:rPr lang="en-US" sz="1200" kern="1200" dirty="0">
                <a:solidFill>
                  <a:schemeClr val="tx1"/>
                </a:solidFill>
                <a:effectLst/>
                <a:latin typeface="+mn-lt"/>
                <a:ea typeface="+mn-ea"/>
                <a:cs typeface="+mn-cs"/>
              </a:rPr>
              <a:t>ON</a:t>
            </a:r>
            <a:r>
              <a:rPr lang="en-US" dirty="0">
                <a:effectLst/>
              </a:rPr>
              <a:t> </a:t>
            </a:r>
            <a:r>
              <a:rPr lang="en-US" sz="1200" kern="1200" dirty="0">
                <a:solidFill>
                  <a:schemeClr val="tx1"/>
                </a:solidFill>
                <a:effectLst/>
                <a:latin typeface="+mn-lt"/>
                <a:ea typeface="+mn-ea"/>
                <a:cs typeface="+mn-cs"/>
              </a:rPr>
              <a:t>SCHEMA</a:t>
            </a:r>
            <a:r>
              <a:rPr lang="en-US" dirty="0">
                <a:effectLst/>
              </a:rPr>
              <a:t>::dbo </a:t>
            </a:r>
            <a:r>
              <a:rPr lang="en-US" sz="1200" kern="1200" dirty="0">
                <a:solidFill>
                  <a:schemeClr val="tx1"/>
                </a:solidFill>
                <a:effectLst/>
                <a:latin typeface="+mn-lt"/>
                <a:ea typeface="+mn-ea"/>
                <a:cs typeface="+mn-cs"/>
              </a:rPr>
              <a:t>TO</a:t>
            </a:r>
            <a:r>
              <a:rPr lang="en-US" dirty="0">
                <a:effectLst/>
              </a:rPr>
              <a:t> loader; </a:t>
            </a:r>
            <a:r>
              <a:rPr lang="en-US" sz="1200" kern="1200" dirty="0">
                <a:solidFill>
                  <a:schemeClr val="tx1"/>
                </a:solidFill>
                <a:effectLst/>
                <a:latin typeface="+mn-lt"/>
                <a:ea typeface="+mn-ea"/>
                <a:cs typeface="+mn-cs"/>
              </a:rPr>
              <a:t>CREATE</a:t>
            </a:r>
            <a:r>
              <a:rPr lang="en-US" dirty="0">
                <a:effectLst/>
              </a:rPr>
              <a:t> WORKLOAD </a:t>
            </a:r>
            <a:r>
              <a:rPr lang="en-US" sz="1200" kern="1200" dirty="0">
                <a:solidFill>
                  <a:schemeClr val="tx1"/>
                </a:solidFill>
                <a:effectLst/>
                <a:latin typeface="+mn-lt"/>
                <a:ea typeface="+mn-ea"/>
                <a:cs typeface="+mn-cs"/>
              </a:rPr>
              <a:t>GROUP</a:t>
            </a:r>
            <a:r>
              <a:rPr lang="en-US" dirty="0">
                <a:effectLst/>
              </a:rPr>
              <a:t> </a:t>
            </a:r>
            <a:r>
              <a:rPr lang="en-US" dirty="0" err="1">
                <a:effectLst/>
              </a:rPr>
              <a:t>DataLoads</a:t>
            </a:r>
            <a:r>
              <a:rPr lang="en-US" dirty="0">
                <a:effectLst/>
              </a:rPr>
              <a:t> </a:t>
            </a:r>
            <a:r>
              <a:rPr lang="en-US" sz="1200" kern="1200" dirty="0">
                <a:solidFill>
                  <a:schemeClr val="tx1"/>
                </a:solidFill>
                <a:effectLst/>
                <a:latin typeface="+mn-lt"/>
                <a:ea typeface="+mn-ea"/>
                <a:cs typeface="+mn-cs"/>
              </a:rPr>
              <a:t>WITH</a:t>
            </a:r>
            <a:r>
              <a:rPr lang="en-US" dirty="0">
                <a:effectLst/>
              </a:rPr>
              <a:t> ( MIN_PERCENTAGE_RESOURCE = </a:t>
            </a:r>
            <a:r>
              <a:rPr lang="en-US" sz="1200" kern="1200" dirty="0">
                <a:solidFill>
                  <a:schemeClr val="tx1"/>
                </a:solidFill>
                <a:effectLst/>
                <a:latin typeface="+mn-lt"/>
                <a:ea typeface="+mn-ea"/>
                <a:cs typeface="+mn-cs"/>
              </a:rPr>
              <a:t>100</a:t>
            </a:r>
            <a:r>
              <a:rPr lang="en-US" dirty="0">
                <a:effectLst/>
              </a:rPr>
              <a:t> ,CAP_PERCENTAGE_RESOURCE = </a:t>
            </a:r>
            <a:r>
              <a:rPr lang="en-US" sz="1200" kern="1200" dirty="0">
                <a:solidFill>
                  <a:schemeClr val="tx1"/>
                </a:solidFill>
                <a:effectLst/>
                <a:latin typeface="+mn-lt"/>
                <a:ea typeface="+mn-ea"/>
                <a:cs typeface="+mn-cs"/>
              </a:rPr>
              <a:t>100</a:t>
            </a:r>
            <a:r>
              <a:rPr lang="en-US" dirty="0">
                <a:effectLst/>
              </a:rPr>
              <a:t> ,REQUEST_MIN_RESOURCE_GRANT_PERCENT = </a:t>
            </a:r>
            <a:r>
              <a:rPr lang="en-US" sz="1200" kern="1200" dirty="0">
                <a:solidFill>
                  <a:schemeClr val="tx1"/>
                </a:solidFill>
                <a:effectLst/>
                <a:latin typeface="+mn-lt"/>
                <a:ea typeface="+mn-ea"/>
                <a:cs typeface="+mn-cs"/>
              </a:rPr>
              <a:t>100</a:t>
            </a:r>
            <a:r>
              <a:rPr lang="en-US" dirty="0">
                <a:effectLst/>
              </a:rPr>
              <a:t> ); </a:t>
            </a:r>
            <a:r>
              <a:rPr lang="en-US" sz="1200" kern="1200" dirty="0">
                <a:solidFill>
                  <a:schemeClr val="tx1"/>
                </a:solidFill>
                <a:effectLst/>
                <a:latin typeface="+mn-lt"/>
                <a:ea typeface="+mn-ea"/>
                <a:cs typeface="+mn-cs"/>
              </a:rPr>
              <a:t>CREATE</a:t>
            </a:r>
            <a:r>
              <a:rPr lang="en-US" dirty="0">
                <a:effectLst/>
              </a:rPr>
              <a:t> WORKLOAD CLASSIFIER [</a:t>
            </a:r>
            <a:r>
              <a:rPr lang="en-US" dirty="0" err="1">
                <a:effectLst/>
              </a:rPr>
              <a:t>wgcELTLogin</a:t>
            </a:r>
            <a:r>
              <a:rPr lang="en-US" dirty="0">
                <a:effectLst/>
              </a:rPr>
              <a:t>] </a:t>
            </a:r>
            <a:r>
              <a:rPr lang="en-US" sz="1200" kern="1200" dirty="0">
                <a:solidFill>
                  <a:schemeClr val="tx1"/>
                </a:solidFill>
                <a:effectLst/>
                <a:latin typeface="+mn-lt"/>
                <a:ea typeface="+mn-ea"/>
                <a:cs typeface="+mn-cs"/>
              </a:rPr>
              <a:t>WITH</a:t>
            </a:r>
            <a:r>
              <a:rPr lang="en-US" dirty="0">
                <a:effectLst/>
              </a:rPr>
              <a:t> ( WORKLOAD_GROUP = </a:t>
            </a:r>
            <a:r>
              <a:rPr lang="en-US" sz="1200" kern="1200" dirty="0">
                <a:solidFill>
                  <a:schemeClr val="tx1"/>
                </a:solidFill>
                <a:effectLst/>
                <a:latin typeface="+mn-lt"/>
                <a:ea typeface="+mn-ea"/>
                <a:cs typeface="+mn-cs"/>
              </a:rPr>
              <a:t>'</a:t>
            </a:r>
            <a:r>
              <a:rPr lang="en-US" sz="1200" kern="1200" dirty="0" err="1">
                <a:solidFill>
                  <a:schemeClr val="tx1"/>
                </a:solidFill>
                <a:effectLst/>
                <a:latin typeface="+mn-lt"/>
                <a:ea typeface="+mn-ea"/>
                <a:cs typeface="+mn-cs"/>
              </a:rPr>
              <a:t>DataLoads</a:t>
            </a:r>
            <a:r>
              <a:rPr lang="en-US" sz="1200" kern="1200" dirty="0">
                <a:solidFill>
                  <a:schemeClr val="tx1"/>
                </a:solidFill>
                <a:effectLst/>
                <a:latin typeface="+mn-lt"/>
                <a:ea typeface="+mn-ea"/>
                <a:cs typeface="+mn-cs"/>
              </a:rPr>
              <a:t>'</a:t>
            </a:r>
            <a:r>
              <a:rPr lang="en-US" dirty="0">
                <a:effectLst/>
              </a:rPr>
              <a:t> ,MEMBERNAME = </a:t>
            </a:r>
            <a:r>
              <a:rPr lang="en-US" sz="1200" kern="1200" dirty="0">
                <a:solidFill>
                  <a:schemeClr val="tx1"/>
                </a:solidFill>
                <a:effectLst/>
                <a:latin typeface="+mn-lt"/>
                <a:ea typeface="+mn-ea"/>
                <a:cs typeface="+mn-cs"/>
              </a:rPr>
              <a:t>'loader'</a:t>
            </a:r>
            <a:r>
              <a:rPr lang="en-US" dirty="0">
                <a:effectLst/>
              </a:rPr>
              <a:t> ); </a:t>
            </a:r>
            <a:r>
              <a:rPr lang="en-US" sz="1200" b="0" i="0" kern="1200" dirty="0">
                <a:solidFill>
                  <a:schemeClr val="tx1"/>
                </a:solidFill>
                <a:effectLst/>
                <a:latin typeface="+mn-lt"/>
                <a:ea typeface="+mn-ea"/>
                <a:cs typeface="+mn-cs"/>
              </a:rPr>
              <a:t>To run a load with resources for the loading workload group, sign in as loader and run the load.</a:t>
            </a:r>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80681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ynapse-analytics/sql-data-warehouse/guidance-for-loading-data#allowing-multiple-users-to-load-polybase</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re's often a need to have multiple users load data into a SQL pool. Loading with the </a:t>
            </a:r>
            <a:r>
              <a:rPr lang="en-US" sz="1200" b="0" i="0" u="sng" kern="1200" dirty="0">
                <a:solidFill>
                  <a:schemeClr val="tx1"/>
                </a:solidFill>
                <a:effectLst/>
                <a:latin typeface="+mn-lt"/>
                <a:ea typeface="+mn-ea"/>
                <a:cs typeface="+mn-cs"/>
                <a:hlinkClick r:id="rId4"/>
              </a:rPr>
              <a:t>CREATE TABLE AS SELECT (Transact-SQL)</a:t>
            </a:r>
            <a:r>
              <a:rPr lang="en-US" sz="1200" b="0" i="0" kern="1200" dirty="0">
                <a:solidFill>
                  <a:schemeClr val="tx1"/>
                </a:solidFill>
                <a:effectLst/>
                <a:latin typeface="+mn-lt"/>
                <a:ea typeface="+mn-ea"/>
                <a:cs typeface="+mn-cs"/>
              </a:rPr>
              <a:t> (PolyBase) requires CONTROL permissions of the database. The CONTROL permission gives control access to all schemas.</a:t>
            </a:r>
          </a:p>
          <a:p>
            <a:r>
              <a:rPr lang="en-US" sz="1200" b="0" i="0" kern="1200" dirty="0">
                <a:solidFill>
                  <a:schemeClr val="tx1"/>
                </a:solidFill>
                <a:effectLst/>
                <a:latin typeface="+mn-lt"/>
                <a:ea typeface="+mn-ea"/>
                <a:cs typeface="+mn-cs"/>
              </a:rPr>
              <a:t>You might not want all loading users to have control access on all schemas. To limit permissions, use the DENY CONTROL statement.</a:t>
            </a:r>
          </a:p>
          <a:p>
            <a:r>
              <a:rPr lang="en-US" sz="1200" b="0" i="0" kern="1200" dirty="0">
                <a:solidFill>
                  <a:schemeClr val="tx1"/>
                </a:solidFill>
                <a:effectLst/>
                <a:latin typeface="+mn-lt"/>
                <a:ea typeface="+mn-ea"/>
                <a:cs typeface="+mn-cs"/>
              </a:rPr>
              <a:t>For example, consider database schemas, </a:t>
            </a:r>
            <a:r>
              <a:rPr lang="en-US" sz="1200" b="0" i="0" kern="1200" dirty="0" err="1">
                <a:solidFill>
                  <a:schemeClr val="tx1"/>
                </a:solidFill>
                <a:effectLst/>
                <a:latin typeface="+mn-lt"/>
                <a:ea typeface="+mn-ea"/>
                <a:cs typeface="+mn-cs"/>
              </a:rPr>
              <a:t>schema_A</a:t>
            </a:r>
            <a:r>
              <a:rPr lang="en-US" sz="1200" b="0" i="0" kern="1200" dirty="0">
                <a:solidFill>
                  <a:schemeClr val="tx1"/>
                </a:solidFill>
                <a:effectLst/>
                <a:latin typeface="+mn-lt"/>
                <a:ea typeface="+mn-ea"/>
                <a:cs typeface="+mn-cs"/>
              </a:rPr>
              <a:t> for dept A, and </a:t>
            </a:r>
            <a:r>
              <a:rPr lang="en-US" sz="1200" b="0" i="0" kern="1200" dirty="0" err="1">
                <a:solidFill>
                  <a:schemeClr val="tx1"/>
                </a:solidFill>
                <a:effectLst/>
                <a:latin typeface="+mn-lt"/>
                <a:ea typeface="+mn-ea"/>
                <a:cs typeface="+mn-cs"/>
              </a:rPr>
              <a:t>schema_B</a:t>
            </a:r>
            <a:r>
              <a:rPr lang="en-US" sz="1200" b="0" i="0" kern="1200" dirty="0">
                <a:solidFill>
                  <a:schemeClr val="tx1"/>
                </a:solidFill>
                <a:effectLst/>
                <a:latin typeface="+mn-lt"/>
                <a:ea typeface="+mn-ea"/>
                <a:cs typeface="+mn-cs"/>
              </a:rPr>
              <a:t> for dept B. Let database users </a:t>
            </a:r>
            <a:r>
              <a:rPr lang="en-US" sz="1200" b="0" i="0" kern="1200" dirty="0" err="1">
                <a:solidFill>
                  <a:schemeClr val="tx1"/>
                </a:solidFill>
                <a:effectLst/>
                <a:latin typeface="+mn-lt"/>
                <a:ea typeface="+mn-ea"/>
                <a:cs typeface="+mn-cs"/>
              </a:rPr>
              <a:t>user_A</a:t>
            </a:r>
            <a:r>
              <a:rPr lang="en-US" sz="1200" b="0" i="0" kern="1200" dirty="0">
                <a:solidFill>
                  <a:schemeClr val="tx1"/>
                </a:solidFill>
                <a:effectLst/>
                <a:latin typeface="+mn-lt"/>
                <a:ea typeface="+mn-ea"/>
                <a:cs typeface="+mn-cs"/>
              </a:rPr>
              <a:t> and </a:t>
            </a:r>
            <a:r>
              <a:rPr lang="en-US" sz="1200" b="0" i="0" kern="1200" dirty="0" err="1">
                <a:solidFill>
                  <a:schemeClr val="tx1"/>
                </a:solidFill>
                <a:effectLst/>
                <a:latin typeface="+mn-lt"/>
                <a:ea typeface="+mn-ea"/>
                <a:cs typeface="+mn-cs"/>
              </a:rPr>
              <a:t>user_B</a:t>
            </a:r>
            <a:r>
              <a:rPr lang="en-US" sz="1200" b="0" i="0" kern="1200" dirty="0">
                <a:solidFill>
                  <a:schemeClr val="tx1"/>
                </a:solidFill>
                <a:effectLst/>
                <a:latin typeface="+mn-lt"/>
                <a:ea typeface="+mn-ea"/>
                <a:cs typeface="+mn-cs"/>
              </a:rPr>
              <a:t> be users for PolyBase loading in dept A and B, respectively. They both have been granted CONTROL database permissions. The creators of schema A and B now lock down their schemas using DENY:</a:t>
            </a:r>
          </a:p>
          <a:p>
            <a:r>
              <a:rPr lang="en-US" sz="1200" b="0" i="0" kern="1200" dirty="0" err="1">
                <a:solidFill>
                  <a:schemeClr val="tx1"/>
                </a:solidFill>
                <a:effectLst/>
                <a:latin typeface="+mn-lt"/>
                <a:ea typeface="+mn-ea"/>
                <a:cs typeface="+mn-cs"/>
              </a:rPr>
              <a:t>SQLCopy</a:t>
            </a:r>
            <a:endParaRPr lang="en-US" sz="1200" b="0" i="0" kern="1200" dirty="0">
              <a:solidFill>
                <a:schemeClr val="tx1"/>
              </a:solidFill>
              <a:effectLst/>
              <a:latin typeface="+mn-lt"/>
              <a:ea typeface="+mn-ea"/>
              <a:cs typeface="+mn-cs"/>
            </a:endParaRPr>
          </a:p>
          <a:p>
            <a:r>
              <a:rPr lang="en-US" dirty="0">
                <a:effectLst/>
              </a:rPr>
              <a:t>DENY CONTROL ON SCHEMA :: </a:t>
            </a:r>
            <a:r>
              <a:rPr lang="en-US" dirty="0" err="1">
                <a:effectLst/>
              </a:rPr>
              <a:t>schema_A</a:t>
            </a:r>
            <a:r>
              <a:rPr lang="en-US" dirty="0">
                <a:effectLst/>
              </a:rPr>
              <a:t> TO </a:t>
            </a:r>
            <a:r>
              <a:rPr lang="en-US" dirty="0" err="1">
                <a:effectLst/>
              </a:rPr>
              <a:t>user_B</a:t>
            </a:r>
            <a:r>
              <a:rPr lang="en-US" dirty="0">
                <a:effectLst/>
              </a:rPr>
              <a:t>; DENY CONTROL ON SCHEMA :: </a:t>
            </a:r>
            <a:r>
              <a:rPr lang="en-US" dirty="0" err="1">
                <a:effectLst/>
              </a:rPr>
              <a:t>schema_B</a:t>
            </a:r>
            <a:r>
              <a:rPr lang="en-US" dirty="0">
                <a:effectLst/>
              </a:rPr>
              <a:t> TO </a:t>
            </a:r>
            <a:r>
              <a:rPr lang="en-US" dirty="0" err="1">
                <a:effectLst/>
              </a:rPr>
              <a:t>user_A</a:t>
            </a:r>
            <a:r>
              <a:rPr lang="en-US" dirty="0">
                <a:effectLst/>
              </a:rPr>
              <a:t>; </a:t>
            </a:r>
            <a:r>
              <a:rPr lang="en-US" sz="1200" b="0" i="0" kern="1200" dirty="0" err="1">
                <a:solidFill>
                  <a:schemeClr val="tx1"/>
                </a:solidFill>
                <a:effectLst/>
                <a:latin typeface="+mn-lt"/>
                <a:ea typeface="+mn-ea"/>
                <a:cs typeface="+mn-cs"/>
              </a:rPr>
              <a:t>User_A</a:t>
            </a:r>
            <a:r>
              <a:rPr lang="en-US" sz="1200" b="0" i="0" kern="1200" dirty="0">
                <a:solidFill>
                  <a:schemeClr val="tx1"/>
                </a:solidFill>
                <a:effectLst/>
                <a:latin typeface="+mn-lt"/>
                <a:ea typeface="+mn-ea"/>
                <a:cs typeface="+mn-cs"/>
              </a:rPr>
              <a:t> and </a:t>
            </a:r>
            <a:r>
              <a:rPr lang="en-US" sz="1200" b="0" i="0" kern="1200" dirty="0" err="1">
                <a:solidFill>
                  <a:schemeClr val="tx1"/>
                </a:solidFill>
                <a:effectLst/>
                <a:latin typeface="+mn-lt"/>
                <a:ea typeface="+mn-ea"/>
                <a:cs typeface="+mn-cs"/>
              </a:rPr>
              <a:t>user_B</a:t>
            </a:r>
            <a:r>
              <a:rPr lang="en-US" sz="1200" b="0" i="0" kern="1200" dirty="0">
                <a:solidFill>
                  <a:schemeClr val="tx1"/>
                </a:solidFill>
                <a:effectLst/>
                <a:latin typeface="+mn-lt"/>
                <a:ea typeface="+mn-ea"/>
                <a:cs typeface="+mn-cs"/>
              </a:rPr>
              <a:t> are now locked out from the other dept's schema.</a:t>
            </a:r>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17790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ynapse-analytics/sql-data-warehouse/guidance-for-loading-data#loading-to-a-staging-table</a:t>
            </a:r>
            <a:endParaRPr lang="en-US" dirty="0"/>
          </a:p>
          <a:p>
            <a:r>
              <a:rPr lang="en-US" dirty="0"/>
              <a:t>This is a 2 steps process. First load to staging then to destination tabl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o achieve the fastest loading speed for moving data into a SQL pool table, load data into a staging table. Define the staging table as a heap and use round-robin for the distribution option.</a:t>
            </a:r>
          </a:p>
          <a:p>
            <a:r>
              <a:rPr lang="en-US" sz="1200" b="0" i="0" kern="1200" dirty="0">
                <a:solidFill>
                  <a:schemeClr val="tx1"/>
                </a:solidFill>
                <a:effectLst/>
                <a:latin typeface="+mn-lt"/>
                <a:ea typeface="+mn-ea"/>
                <a:cs typeface="+mn-cs"/>
              </a:rPr>
              <a:t>Consider that loading is usually a two-step process in which you first load to a staging table and then insert the data into a production SQL pool table. If the production table uses a hash distribution, the total time to load and insert might be faster if you define the staging table with the hash distribution.</a:t>
            </a:r>
          </a:p>
          <a:p>
            <a:r>
              <a:rPr lang="en-US" sz="1200" b="0" i="0" kern="1200" dirty="0">
                <a:solidFill>
                  <a:schemeClr val="tx1"/>
                </a:solidFill>
                <a:effectLst/>
                <a:latin typeface="+mn-lt"/>
                <a:ea typeface="+mn-ea"/>
                <a:cs typeface="+mn-cs"/>
              </a:rPr>
              <a:t>Loading to the staging table takes longer, but the second step of inserting the rows to the production table does not incur data movement across the distributions.</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1</a:t>
            </a:fld>
            <a:endParaRPr lang="en-US" noProof="0" dirty="0"/>
          </a:p>
        </p:txBody>
      </p:sp>
    </p:spTree>
    <p:extLst>
      <p:ext uri="{BB962C8B-B14F-4D97-AF65-F5344CB8AC3E}">
        <p14:creationId xmlns:p14="http://schemas.microsoft.com/office/powerpoint/2010/main" val="36279495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06446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ynapse-analytics/sql-data-warehouse/guidance-for-loading-data#loading-to-a-columnstore-index</a:t>
            </a:r>
            <a:endParaRPr lang="en-US" dirty="0"/>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olumnstore indexes require large amounts of memory to compress data into high-quality rowgroups. For best compression and index efficiency, the columnstore index needs to compress the maximum of 1,048,576 rows into each rowgroup.</a:t>
            </a:r>
          </a:p>
          <a:p>
            <a:r>
              <a:rPr lang="en-US" sz="1200" b="0" i="0" kern="1200" dirty="0">
                <a:solidFill>
                  <a:schemeClr val="tx1"/>
                </a:solidFill>
                <a:effectLst/>
                <a:latin typeface="+mn-lt"/>
                <a:ea typeface="+mn-ea"/>
                <a:cs typeface="+mn-cs"/>
              </a:rPr>
              <a:t>When there is memory pressure, the columnstore index might not be able to achieve maximum compression rates. This scenario, in turn, effects query performance. For a deep dive, see </a:t>
            </a:r>
            <a:r>
              <a:rPr lang="en-US" sz="1200" b="0" i="0" u="sng" kern="1200" dirty="0">
                <a:solidFill>
                  <a:schemeClr val="tx1"/>
                </a:solidFill>
                <a:effectLst/>
                <a:latin typeface="+mn-lt"/>
                <a:ea typeface="+mn-ea"/>
                <a:cs typeface="+mn-cs"/>
                <a:hlinkClick r:id="rId4"/>
              </a:rPr>
              <a:t>Columnstore memory optimizations</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To ensure the loading user has enough memory to achieve maximum compression rates, use loading users that are a member of a medium or large resource class.</a:t>
            </a:r>
          </a:p>
          <a:p>
            <a:r>
              <a:rPr lang="en-US" sz="1200" b="0" i="0" kern="1200" dirty="0">
                <a:solidFill>
                  <a:schemeClr val="tx1"/>
                </a:solidFill>
                <a:effectLst/>
                <a:latin typeface="+mn-lt"/>
                <a:ea typeface="+mn-ea"/>
                <a:cs typeface="+mn-cs"/>
              </a:rPr>
              <a:t>Load enough rows to completely fill new rowgroups. During a bulk load, every 1,048,576 rows get compressed directly into the columnstore as a full rowgroup. Loads with fewer than 102,400 rows send the rows to the </a:t>
            </a:r>
            <a:r>
              <a:rPr lang="en-US" sz="1200" b="0" i="0" kern="1200" dirty="0" err="1">
                <a:solidFill>
                  <a:schemeClr val="tx1"/>
                </a:solidFill>
                <a:effectLst/>
                <a:latin typeface="+mn-lt"/>
                <a:ea typeface="+mn-ea"/>
                <a:cs typeface="+mn-cs"/>
              </a:rPr>
              <a:t>deltastore</a:t>
            </a:r>
            <a:r>
              <a:rPr lang="en-US" sz="1200" b="0" i="0" kern="1200" dirty="0">
                <a:solidFill>
                  <a:schemeClr val="tx1"/>
                </a:solidFill>
                <a:effectLst/>
                <a:latin typeface="+mn-lt"/>
                <a:ea typeface="+mn-ea"/>
                <a:cs typeface="+mn-cs"/>
              </a:rPr>
              <a:t> where rows are held in a b-tree index.</a:t>
            </a:r>
          </a:p>
          <a:p>
            <a:r>
              <a:rPr lang="en-US" sz="1200" b="1" i="0" kern="1200" dirty="0">
                <a:solidFill>
                  <a:schemeClr val="tx1"/>
                </a:solidFill>
                <a:effectLst/>
                <a:latin typeface="+mn-lt"/>
                <a:ea typeface="+mn-ea"/>
                <a:cs typeface="+mn-cs"/>
              </a:rPr>
              <a:t> Note</a:t>
            </a:r>
          </a:p>
          <a:p>
            <a:r>
              <a:rPr lang="en-US" sz="1200" b="0" i="0" kern="1200" dirty="0">
                <a:solidFill>
                  <a:schemeClr val="tx1"/>
                </a:solidFill>
                <a:effectLst/>
                <a:latin typeface="+mn-lt"/>
                <a:ea typeface="+mn-ea"/>
                <a:cs typeface="+mn-cs"/>
              </a:rPr>
              <a:t>If you load too few rows, they might all route to the </a:t>
            </a:r>
            <a:r>
              <a:rPr lang="en-US" sz="1200" b="0" i="0" kern="1200" dirty="0" err="1">
                <a:solidFill>
                  <a:schemeClr val="tx1"/>
                </a:solidFill>
                <a:effectLst/>
                <a:latin typeface="+mn-lt"/>
                <a:ea typeface="+mn-ea"/>
                <a:cs typeface="+mn-cs"/>
              </a:rPr>
              <a:t>deltastore</a:t>
            </a:r>
            <a:r>
              <a:rPr lang="en-US" sz="1200" b="0" i="0" kern="1200" dirty="0">
                <a:solidFill>
                  <a:schemeClr val="tx1"/>
                </a:solidFill>
                <a:effectLst/>
                <a:latin typeface="+mn-lt"/>
                <a:ea typeface="+mn-ea"/>
                <a:cs typeface="+mn-cs"/>
              </a:rPr>
              <a:t> and not get compressed immediately into columnstore format.</a:t>
            </a:r>
          </a:p>
          <a:p>
            <a:endParaRPr lang="en-US" sz="1200" b="0" i="0" kern="120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dirty="0"/>
          </a:p>
        </p:txBody>
      </p:sp>
    </p:spTree>
    <p:extLst>
      <p:ext uri="{BB962C8B-B14F-4D97-AF65-F5344CB8AC3E}">
        <p14:creationId xmlns:p14="http://schemas.microsoft.com/office/powerpoint/2010/main" val="37250283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ynapse-analytics/sql-data-warehouse/sql-data-warehouse-memory-optimizations-for-columnstore-compression</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Ways to reduce memory requirements</a:t>
            </a:r>
          </a:p>
          <a:p>
            <a:r>
              <a:rPr lang="en-US" sz="1200" b="0" i="0" kern="1200" dirty="0">
                <a:solidFill>
                  <a:schemeClr val="tx1"/>
                </a:solidFill>
                <a:effectLst/>
                <a:latin typeface="+mn-lt"/>
                <a:ea typeface="+mn-ea"/>
                <a:cs typeface="+mn-cs"/>
              </a:rPr>
              <a:t>Use the following techniques to reduce the memory requirements for compressing rowgroups into columnstore indexes.</a:t>
            </a:r>
          </a:p>
          <a:p>
            <a:endParaRPr lang="en-US" sz="1200" b="1"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Use fewer columns</a:t>
            </a:r>
          </a:p>
          <a:p>
            <a:r>
              <a:rPr lang="en-US" sz="1200" b="0" i="0" kern="1200" dirty="0">
                <a:solidFill>
                  <a:schemeClr val="tx1"/>
                </a:solidFill>
                <a:effectLst/>
                <a:latin typeface="+mn-lt"/>
                <a:ea typeface="+mn-ea"/>
                <a:cs typeface="+mn-cs"/>
              </a:rPr>
              <a:t>If possible, design the table with fewer columns. When a rowgroup is compressed into the columnstore, the columnstore index compresses each column segment separately.</a:t>
            </a:r>
          </a:p>
          <a:p>
            <a:r>
              <a:rPr lang="en-US" sz="1200" b="0" i="0" kern="1200" dirty="0">
                <a:solidFill>
                  <a:schemeClr val="tx1"/>
                </a:solidFill>
                <a:effectLst/>
                <a:latin typeface="+mn-lt"/>
                <a:ea typeface="+mn-ea"/>
                <a:cs typeface="+mn-cs"/>
              </a:rPr>
              <a:t>As such, the memory requirements to compress a rowgroup increase as the number of columns increases.</a:t>
            </a:r>
          </a:p>
          <a:p>
            <a:endParaRPr lang="en-US" sz="1200" b="1"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Use fewer string columns</a:t>
            </a:r>
          </a:p>
          <a:p>
            <a:r>
              <a:rPr lang="en-US" sz="1200" b="0" i="0" kern="1200" dirty="0">
                <a:solidFill>
                  <a:schemeClr val="tx1"/>
                </a:solidFill>
                <a:effectLst/>
                <a:latin typeface="+mn-lt"/>
                <a:ea typeface="+mn-ea"/>
                <a:cs typeface="+mn-cs"/>
              </a:rPr>
              <a:t>Columns of string data types require more memory than numeric and date data types. To reduce memory requirements, consider removing string columns from fact tables and putting them in smaller dimension tables.</a:t>
            </a:r>
          </a:p>
          <a:p>
            <a:r>
              <a:rPr lang="en-US" sz="1200" b="0" i="0" kern="1200" dirty="0">
                <a:solidFill>
                  <a:schemeClr val="tx1"/>
                </a:solidFill>
                <a:effectLst/>
                <a:latin typeface="+mn-lt"/>
                <a:ea typeface="+mn-ea"/>
                <a:cs typeface="+mn-cs"/>
              </a:rPr>
              <a:t>Additional memory requirements for string compression:</a:t>
            </a:r>
          </a:p>
          <a:p>
            <a:r>
              <a:rPr lang="en-US" sz="1200" b="0" i="0" kern="1200" dirty="0">
                <a:solidFill>
                  <a:schemeClr val="tx1"/>
                </a:solidFill>
                <a:effectLst/>
                <a:latin typeface="+mn-lt"/>
                <a:ea typeface="+mn-ea"/>
                <a:cs typeface="+mn-cs"/>
              </a:rPr>
              <a:t>String data types up to 32 characters can require 32 additional bytes per value.</a:t>
            </a:r>
          </a:p>
          <a:p>
            <a:r>
              <a:rPr lang="en-US" sz="1200" b="0" i="0" kern="1200" dirty="0">
                <a:solidFill>
                  <a:schemeClr val="tx1"/>
                </a:solidFill>
                <a:effectLst/>
                <a:latin typeface="+mn-lt"/>
                <a:ea typeface="+mn-ea"/>
                <a:cs typeface="+mn-cs"/>
              </a:rPr>
              <a:t>String data types with more than 32 characters are compressed using dictionary methods. Each column in the rowgroup can require up to an additional 16 MB to build the dictionary.</a:t>
            </a:r>
          </a:p>
          <a:p>
            <a:endParaRPr lang="en-US" sz="1200" b="1"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Avoid over-partitioning</a:t>
            </a:r>
          </a:p>
          <a:p>
            <a:r>
              <a:rPr lang="en-US" sz="1200" b="0" i="0" kern="1200" dirty="0">
                <a:solidFill>
                  <a:schemeClr val="tx1"/>
                </a:solidFill>
                <a:effectLst/>
                <a:latin typeface="+mn-lt"/>
                <a:ea typeface="+mn-ea"/>
                <a:cs typeface="+mn-cs"/>
              </a:rPr>
              <a:t>Columnstore indexes create one or more rowgroups per partition. For SQL pool in Azure Synapse Analytics, the number of partitions grows quickly because the data is distributed and each distribution is partitioned.</a:t>
            </a:r>
          </a:p>
          <a:p>
            <a:r>
              <a:rPr lang="en-US" sz="1200" b="0" i="0" kern="1200" dirty="0">
                <a:solidFill>
                  <a:schemeClr val="tx1"/>
                </a:solidFill>
                <a:effectLst/>
                <a:latin typeface="+mn-lt"/>
                <a:ea typeface="+mn-ea"/>
                <a:cs typeface="+mn-cs"/>
              </a:rPr>
              <a:t>If the table has too many partitions, there might not be enough rows to fill the rowgroups. The lack of rows does not create memory pressure during compression. But, it leads to rowgroups that do not achieve the best columnstore query performance.</a:t>
            </a:r>
          </a:p>
          <a:p>
            <a:r>
              <a:rPr lang="en-US" sz="1200" b="0" i="0" kern="1200" dirty="0">
                <a:solidFill>
                  <a:schemeClr val="tx1"/>
                </a:solidFill>
                <a:effectLst/>
                <a:latin typeface="+mn-lt"/>
                <a:ea typeface="+mn-ea"/>
                <a:cs typeface="+mn-cs"/>
              </a:rPr>
              <a:t>Another reason to avoid over-partitioning is there is a memory overhead for loading rows into a columnstore index on a partitioned table.</a:t>
            </a:r>
          </a:p>
          <a:p>
            <a:r>
              <a:rPr lang="en-US" sz="1200" b="0" i="0" kern="1200" dirty="0">
                <a:solidFill>
                  <a:schemeClr val="tx1"/>
                </a:solidFill>
                <a:effectLst/>
                <a:latin typeface="+mn-lt"/>
                <a:ea typeface="+mn-ea"/>
                <a:cs typeface="+mn-cs"/>
              </a:rPr>
              <a:t>During a load, many partitions could receive the incoming rows, which are held in memory until each partition has enough rows to be compressed. Having too many partitions creates additional memory pressure.</a:t>
            </a:r>
          </a:p>
          <a:p>
            <a:endParaRPr lang="en-US" sz="1200" b="1"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Simplify the load query – Remember the Distributions – 60 Distributions * 2 partitions = 120 new CCIs, Minimum per rowgroup 100k</a:t>
            </a:r>
          </a:p>
          <a:p>
            <a:r>
              <a:rPr lang="en-US" sz="1200" b="0" i="0" kern="1200" dirty="0">
                <a:solidFill>
                  <a:schemeClr val="tx1"/>
                </a:solidFill>
                <a:effectLst/>
                <a:latin typeface="+mn-lt"/>
                <a:ea typeface="+mn-ea"/>
                <a:cs typeface="+mn-cs"/>
              </a:rPr>
              <a:t>The database shares the memory grant for a query among all the operators in the query. When a load query has complex sorts and joins, the memory available for compression is reduced.</a:t>
            </a:r>
          </a:p>
          <a:p>
            <a:r>
              <a:rPr lang="en-US" sz="1200" b="0" i="0" kern="1200" dirty="0">
                <a:solidFill>
                  <a:schemeClr val="tx1"/>
                </a:solidFill>
                <a:effectLst/>
                <a:latin typeface="+mn-lt"/>
                <a:ea typeface="+mn-ea"/>
                <a:cs typeface="+mn-cs"/>
              </a:rPr>
              <a:t>Design the load query to focus only on loading the query. If you need to run transformations on the data, run them separate from the load query. For example, stage the data in a heap table, run the transformations, and then load the staging table into the columnstore index.</a:t>
            </a:r>
          </a:p>
          <a:p>
            <a:r>
              <a:rPr lang="en-US" sz="1200" b="1" i="0" kern="1200" dirty="0">
                <a:solidFill>
                  <a:schemeClr val="tx1"/>
                </a:solidFill>
                <a:effectLst/>
                <a:latin typeface="+mn-lt"/>
                <a:ea typeface="+mn-ea"/>
                <a:cs typeface="+mn-cs"/>
              </a:rPr>
              <a:t> Tip</a:t>
            </a:r>
          </a:p>
          <a:p>
            <a:r>
              <a:rPr lang="en-US" sz="1200" b="0" i="0" kern="1200" dirty="0">
                <a:solidFill>
                  <a:schemeClr val="tx1"/>
                </a:solidFill>
                <a:effectLst/>
                <a:latin typeface="+mn-lt"/>
                <a:ea typeface="+mn-ea"/>
                <a:cs typeface="+mn-cs"/>
              </a:rPr>
              <a:t>You can also load the data first and then use the MPP system to transform the data.</a:t>
            </a:r>
          </a:p>
          <a:p>
            <a:endParaRPr lang="en-US" sz="1200" b="0" i="0" kern="120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3</a:t>
            </a:fld>
            <a:endParaRPr lang="en-US" noProof="0" dirty="0"/>
          </a:p>
        </p:txBody>
      </p:sp>
    </p:spTree>
    <p:extLst>
      <p:ext uri="{BB962C8B-B14F-4D97-AF65-F5344CB8AC3E}">
        <p14:creationId xmlns:p14="http://schemas.microsoft.com/office/powerpoint/2010/main" val="6751479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ynapse-analytics/sql-data-warehouse/guidance-for-loading-data#increase-batch-size-when-using-sqlbulkcopy-api-or-bcp</a:t>
            </a:r>
            <a:endParaRPr lang="en-US" dirty="0"/>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Loading with the COPY statement will provide the highest throughput with SQL pool. If you cannot use the COPY to load and must use the </a:t>
            </a:r>
            <a:r>
              <a:rPr lang="en-US" sz="1200" b="0" i="0" u="sng" kern="1200" dirty="0" err="1">
                <a:solidFill>
                  <a:schemeClr val="tx1"/>
                </a:solidFill>
                <a:effectLst/>
                <a:latin typeface="+mn-lt"/>
                <a:ea typeface="+mn-ea"/>
                <a:cs typeface="+mn-cs"/>
                <a:hlinkClick r:id="rId4"/>
              </a:rPr>
              <a:t>SqLBulkCopy</a:t>
            </a:r>
            <a:r>
              <a:rPr lang="en-US" sz="1200" b="0" i="0" u="sng" kern="1200" dirty="0">
                <a:solidFill>
                  <a:schemeClr val="tx1"/>
                </a:solidFill>
                <a:effectLst/>
                <a:latin typeface="+mn-lt"/>
                <a:ea typeface="+mn-ea"/>
                <a:cs typeface="+mn-cs"/>
                <a:hlinkClick r:id="rId4"/>
              </a:rPr>
              <a:t> API</a:t>
            </a:r>
            <a:r>
              <a:rPr lang="en-US" sz="1200" b="0" i="0" kern="1200" dirty="0">
                <a:solidFill>
                  <a:schemeClr val="tx1"/>
                </a:solidFill>
                <a:effectLst/>
                <a:latin typeface="+mn-lt"/>
                <a:ea typeface="+mn-ea"/>
                <a:cs typeface="+mn-cs"/>
              </a:rPr>
              <a:t> or </a:t>
            </a:r>
            <a:r>
              <a:rPr lang="en-US" sz="1200" b="0" i="0" u="sng" kern="1200" dirty="0" err="1">
                <a:solidFill>
                  <a:schemeClr val="tx1"/>
                </a:solidFill>
                <a:effectLst/>
                <a:latin typeface="+mn-lt"/>
                <a:ea typeface="+mn-ea"/>
                <a:cs typeface="+mn-cs"/>
                <a:hlinkClick r:id="rId5"/>
              </a:rPr>
              <a:t>bcp</a:t>
            </a:r>
            <a:r>
              <a:rPr lang="en-US" sz="1200" b="0" i="0" kern="1200" dirty="0">
                <a:solidFill>
                  <a:schemeClr val="tx1"/>
                </a:solidFill>
                <a:effectLst/>
                <a:latin typeface="+mn-lt"/>
                <a:ea typeface="+mn-ea"/>
                <a:cs typeface="+mn-cs"/>
              </a:rPr>
              <a:t>, you should consider increasing batch size for better throughput.</a:t>
            </a:r>
          </a:p>
          <a:p>
            <a:r>
              <a:rPr lang="en-US" sz="1200" b="1" i="0" kern="1200" dirty="0">
                <a:solidFill>
                  <a:schemeClr val="tx1"/>
                </a:solidFill>
                <a:effectLst/>
                <a:latin typeface="+mn-lt"/>
                <a:ea typeface="+mn-ea"/>
                <a:cs typeface="+mn-cs"/>
              </a:rPr>
              <a:t> Tip</a:t>
            </a:r>
          </a:p>
          <a:p>
            <a:r>
              <a:rPr lang="en-US" sz="1200" b="0" i="0" kern="1200" dirty="0">
                <a:solidFill>
                  <a:schemeClr val="tx1"/>
                </a:solidFill>
                <a:effectLst/>
                <a:latin typeface="+mn-lt"/>
                <a:ea typeface="+mn-ea"/>
                <a:cs typeface="+mn-cs"/>
              </a:rPr>
              <a:t>A batch size between 100 K to 1M rows is the recommended baseline for determining optimal batch size capacity.</a:t>
            </a:r>
          </a:p>
          <a:p>
            <a:endParaRPr lang="en-US" sz="1200" b="0" i="0" kern="120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dirty="0"/>
          </a:p>
        </p:txBody>
      </p:sp>
    </p:spTree>
    <p:extLst>
      <p:ext uri="{BB962C8B-B14F-4D97-AF65-F5344CB8AC3E}">
        <p14:creationId xmlns:p14="http://schemas.microsoft.com/office/powerpoint/2010/main" val="35798875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ynapse-analytics/sql-data-warehouse/guidance-for-loading-data#inserting-data-into-a-production-table</a:t>
            </a:r>
            <a:endParaRPr lang="en-US" dirty="0"/>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 one-time load to a small table with an </a:t>
            </a:r>
            <a:r>
              <a:rPr lang="en-US" sz="1200" b="0" i="0" u="sng" kern="1200" dirty="0">
                <a:solidFill>
                  <a:schemeClr val="tx1"/>
                </a:solidFill>
                <a:effectLst/>
                <a:latin typeface="+mn-lt"/>
                <a:ea typeface="+mn-ea"/>
                <a:cs typeface="+mn-cs"/>
                <a:hlinkClick r:id="rId4"/>
              </a:rPr>
              <a:t>INSERT statement</a:t>
            </a:r>
            <a:r>
              <a:rPr lang="en-US" sz="1200" b="0" i="0" kern="1200" dirty="0">
                <a:solidFill>
                  <a:schemeClr val="tx1"/>
                </a:solidFill>
                <a:effectLst/>
                <a:latin typeface="+mn-lt"/>
                <a:ea typeface="+mn-ea"/>
                <a:cs typeface="+mn-cs"/>
              </a:rPr>
              <a:t>, or even a periodic reload of a look-up might perform good enough with a statement like INSERT INTO </a:t>
            </a:r>
            <a:r>
              <a:rPr lang="en-US" sz="1200" b="0" i="0" kern="1200" dirty="0" err="1">
                <a:solidFill>
                  <a:schemeClr val="tx1"/>
                </a:solidFill>
                <a:effectLst/>
                <a:latin typeface="+mn-lt"/>
                <a:ea typeface="+mn-ea"/>
                <a:cs typeface="+mn-cs"/>
              </a:rPr>
              <a:t>MyLookup</a:t>
            </a:r>
            <a:r>
              <a:rPr lang="en-US" sz="1200" b="0" i="0" kern="1200" dirty="0">
                <a:solidFill>
                  <a:schemeClr val="tx1"/>
                </a:solidFill>
                <a:effectLst/>
                <a:latin typeface="+mn-lt"/>
                <a:ea typeface="+mn-ea"/>
                <a:cs typeface="+mn-cs"/>
              </a:rPr>
              <a:t> VALUES (1, 'Type 1'). However, singleton inserts are not as efficient as performing a bulk load.</a:t>
            </a:r>
          </a:p>
          <a:p>
            <a:r>
              <a:rPr lang="en-US" sz="1200" b="0" i="0" kern="1200" dirty="0">
                <a:solidFill>
                  <a:schemeClr val="tx1"/>
                </a:solidFill>
                <a:effectLst/>
                <a:latin typeface="+mn-lt"/>
                <a:ea typeface="+mn-ea"/>
                <a:cs typeface="+mn-cs"/>
              </a:rPr>
              <a:t>If you have thousands or more single inserts throughout the day, batch the inserts so you can bulk load them. Develop your processes to append the single inserts to a file, and then create another process that periodically loads the file.</a:t>
            </a:r>
          </a:p>
          <a:p>
            <a:endParaRPr lang="en-US" sz="1200" b="0" i="0" kern="120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5</a:t>
            </a:fld>
            <a:endParaRPr lang="en-US" noProof="0" dirty="0"/>
          </a:p>
        </p:txBody>
      </p:sp>
    </p:spTree>
    <p:extLst>
      <p:ext uri="{BB962C8B-B14F-4D97-AF65-F5344CB8AC3E}">
        <p14:creationId xmlns:p14="http://schemas.microsoft.com/office/powerpoint/2010/main" val="33846532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ynapse-analytics/sql-data-warehouse/guidance-for-loading-data#creating-statistics-after-the-load</a:t>
            </a:r>
            <a:endParaRPr lang="en-US" dirty="0"/>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o improve query performance, it's important to create statistics on all columns of all tables after the first load, or substantial changes occur in the data. Creating statistics can be done manually or you can enable </a:t>
            </a:r>
            <a:r>
              <a:rPr lang="en-US" sz="1200" b="0" i="0" u="sng" kern="1200" dirty="0">
                <a:solidFill>
                  <a:schemeClr val="tx1"/>
                </a:solidFill>
                <a:effectLst/>
                <a:latin typeface="+mn-lt"/>
                <a:ea typeface="+mn-ea"/>
                <a:cs typeface="+mn-cs"/>
                <a:hlinkClick r:id="rId4"/>
              </a:rPr>
              <a:t>AUTO_CREATE_STATISTICS</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For a detailed explanation of statistics, see </a:t>
            </a:r>
            <a:r>
              <a:rPr lang="en-US" sz="1200" b="0" i="0" u="sng" kern="1200" dirty="0">
                <a:solidFill>
                  <a:schemeClr val="tx1"/>
                </a:solidFill>
                <a:effectLst/>
                <a:latin typeface="+mn-lt"/>
                <a:ea typeface="+mn-ea"/>
                <a:cs typeface="+mn-cs"/>
                <a:hlinkClick r:id="rId5"/>
              </a:rPr>
              <a:t>Statistics</a:t>
            </a:r>
            <a:r>
              <a:rPr lang="en-US" sz="1200" b="0" i="0" kern="1200" dirty="0">
                <a:solidFill>
                  <a:schemeClr val="tx1"/>
                </a:solidFill>
                <a:effectLst/>
                <a:latin typeface="+mn-lt"/>
                <a:ea typeface="+mn-ea"/>
                <a:cs typeface="+mn-cs"/>
              </a:rPr>
              <a:t>. The following example shows how to manually create statistics on five columns of the </a:t>
            </a:r>
            <a:r>
              <a:rPr lang="en-US" sz="1200" b="0" i="0" kern="1200" dirty="0" err="1">
                <a:solidFill>
                  <a:schemeClr val="tx1"/>
                </a:solidFill>
                <a:effectLst/>
                <a:latin typeface="+mn-lt"/>
                <a:ea typeface="+mn-ea"/>
                <a:cs typeface="+mn-cs"/>
              </a:rPr>
              <a:t>Customer_Speed</a:t>
            </a:r>
            <a:r>
              <a:rPr lang="en-US" sz="1200" b="0" i="0" kern="1200" dirty="0">
                <a:solidFill>
                  <a:schemeClr val="tx1"/>
                </a:solidFill>
                <a:effectLst/>
                <a:latin typeface="+mn-lt"/>
                <a:ea typeface="+mn-ea"/>
                <a:cs typeface="+mn-cs"/>
              </a:rPr>
              <a:t> table.</a:t>
            </a:r>
          </a:p>
          <a:p>
            <a:r>
              <a:rPr lang="en-US" sz="1200" b="0" i="0" kern="1200" dirty="0" err="1">
                <a:solidFill>
                  <a:schemeClr val="tx1"/>
                </a:solidFill>
                <a:effectLst/>
                <a:latin typeface="+mn-lt"/>
                <a:ea typeface="+mn-ea"/>
                <a:cs typeface="+mn-cs"/>
              </a:rPr>
              <a:t>SQLCopy</a:t>
            </a:r>
            <a:endParaRPr lang="en-US" sz="1200" b="0" i="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reate</a:t>
            </a:r>
            <a:r>
              <a:rPr lang="en-US" dirty="0">
                <a:effectLst/>
              </a:rPr>
              <a:t> </a:t>
            </a:r>
            <a:r>
              <a:rPr lang="en-US" sz="1200" kern="1200" dirty="0">
                <a:solidFill>
                  <a:schemeClr val="tx1"/>
                </a:solidFill>
                <a:effectLst/>
                <a:latin typeface="+mn-lt"/>
                <a:ea typeface="+mn-ea"/>
                <a:cs typeface="+mn-cs"/>
              </a:rPr>
              <a:t>statistics</a:t>
            </a:r>
            <a:r>
              <a:rPr lang="en-US" dirty="0">
                <a:effectLst/>
              </a:rPr>
              <a:t> [</a:t>
            </a:r>
            <a:r>
              <a:rPr lang="en-US" dirty="0" err="1">
                <a:effectLst/>
              </a:rPr>
              <a:t>SensorKey</a:t>
            </a:r>
            <a:r>
              <a:rPr lang="en-US" dirty="0">
                <a:effectLst/>
              </a:rPr>
              <a:t>] </a:t>
            </a:r>
            <a:r>
              <a:rPr lang="en-US" sz="1200" kern="1200" dirty="0">
                <a:solidFill>
                  <a:schemeClr val="tx1"/>
                </a:solidFill>
                <a:effectLst/>
                <a:latin typeface="+mn-lt"/>
                <a:ea typeface="+mn-ea"/>
                <a:cs typeface="+mn-cs"/>
              </a:rPr>
              <a:t>on</a:t>
            </a:r>
            <a:r>
              <a:rPr lang="en-US" dirty="0">
                <a:effectLst/>
              </a:rPr>
              <a:t> [</a:t>
            </a:r>
            <a:r>
              <a:rPr lang="en-US" dirty="0" err="1">
                <a:effectLst/>
              </a:rPr>
              <a:t>Customer_Speed</a:t>
            </a:r>
            <a:r>
              <a:rPr lang="en-US" dirty="0">
                <a:effectLst/>
              </a:rPr>
              <a:t>] ([</a:t>
            </a:r>
            <a:r>
              <a:rPr lang="en-US" dirty="0" err="1">
                <a:effectLst/>
              </a:rPr>
              <a:t>SensorKey</a:t>
            </a:r>
            <a:r>
              <a:rPr lang="en-US" dirty="0">
                <a:effectLst/>
              </a:rPr>
              <a:t>]); </a:t>
            </a:r>
            <a:r>
              <a:rPr lang="en-US" sz="1200" kern="1200" dirty="0">
                <a:solidFill>
                  <a:schemeClr val="tx1"/>
                </a:solidFill>
                <a:effectLst/>
                <a:latin typeface="+mn-lt"/>
                <a:ea typeface="+mn-ea"/>
                <a:cs typeface="+mn-cs"/>
              </a:rPr>
              <a:t>create</a:t>
            </a:r>
            <a:r>
              <a:rPr lang="en-US" dirty="0">
                <a:effectLst/>
              </a:rPr>
              <a:t> </a:t>
            </a:r>
            <a:r>
              <a:rPr lang="en-US" sz="1200" kern="1200" dirty="0">
                <a:solidFill>
                  <a:schemeClr val="tx1"/>
                </a:solidFill>
                <a:effectLst/>
                <a:latin typeface="+mn-lt"/>
                <a:ea typeface="+mn-ea"/>
                <a:cs typeface="+mn-cs"/>
              </a:rPr>
              <a:t>statistics</a:t>
            </a:r>
            <a:r>
              <a:rPr lang="en-US" dirty="0">
                <a:effectLst/>
              </a:rPr>
              <a:t> [</a:t>
            </a:r>
            <a:r>
              <a:rPr lang="en-US" dirty="0" err="1">
                <a:effectLst/>
              </a:rPr>
              <a:t>CustomerKey</a:t>
            </a:r>
            <a:r>
              <a:rPr lang="en-US" dirty="0">
                <a:effectLst/>
              </a:rPr>
              <a:t>] </a:t>
            </a:r>
            <a:r>
              <a:rPr lang="en-US" sz="1200" kern="1200" dirty="0">
                <a:solidFill>
                  <a:schemeClr val="tx1"/>
                </a:solidFill>
                <a:effectLst/>
                <a:latin typeface="+mn-lt"/>
                <a:ea typeface="+mn-ea"/>
                <a:cs typeface="+mn-cs"/>
              </a:rPr>
              <a:t>on</a:t>
            </a:r>
            <a:r>
              <a:rPr lang="en-US" dirty="0">
                <a:effectLst/>
              </a:rPr>
              <a:t> [</a:t>
            </a:r>
            <a:r>
              <a:rPr lang="en-US" dirty="0" err="1">
                <a:effectLst/>
              </a:rPr>
              <a:t>Customer_Speed</a:t>
            </a:r>
            <a:r>
              <a:rPr lang="en-US" dirty="0">
                <a:effectLst/>
              </a:rPr>
              <a:t>] ([</a:t>
            </a:r>
            <a:r>
              <a:rPr lang="en-US" dirty="0" err="1">
                <a:effectLst/>
              </a:rPr>
              <a:t>CustomerKey</a:t>
            </a:r>
            <a:r>
              <a:rPr lang="en-US" dirty="0">
                <a:effectLst/>
              </a:rPr>
              <a:t>]); </a:t>
            </a:r>
            <a:r>
              <a:rPr lang="en-US" sz="1200" kern="1200" dirty="0">
                <a:solidFill>
                  <a:schemeClr val="tx1"/>
                </a:solidFill>
                <a:effectLst/>
                <a:latin typeface="+mn-lt"/>
                <a:ea typeface="+mn-ea"/>
                <a:cs typeface="+mn-cs"/>
              </a:rPr>
              <a:t>create</a:t>
            </a:r>
            <a:r>
              <a:rPr lang="en-US" dirty="0">
                <a:effectLst/>
              </a:rPr>
              <a:t> </a:t>
            </a:r>
            <a:r>
              <a:rPr lang="en-US" sz="1200" kern="1200" dirty="0">
                <a:solidFill>
                  <a:schemeClr val="tx1"/>
                </a:solidFill>
                <a:effectLst/>
                <a:latin typeface="+mn-lt"/>
                <a:ea typeface="+mn-ea"/>
                <a:cs typeface="+mn-cs"/>
              </a:rPr>
              <a:t>statistics</a:t>
            </a:r>
            <a:r>
              <a:rPr lang="en-US" dirty="0">
                <a:effectLst/>
              </a:rPr>
              <a:t> [</a:t>
            </a:r>
            <a:r>
              <a:rPr lang="en-US" dirty="0" err="1">
                <a:effectLst/>
              </a:rPr>
              <a:t>GeographyKey</a:t>
            </a:r>
            <a:r>
              <a:rPr lang="en-US" dirty="0">
                <a:effectLst/>
              </a:rPr>
              <a:t>] </a:t>
            </a:r>
            <a:r>
              <a:rPr lang="en-US" sz="1200" kern="1200" dirty="0">
                <a:solidFill>
                  <a:schemeClr val="tx1"/>
                </a:solidFill>
                <a:effectLst/>
                <a:latin typeface="+mn-lt"/>
                <a:ea typeface="+mn-ea"/>
                <a:cs typeface="+mn-cs"/>
              </a:rPr>
              <a:t>on</a:t>
            </a:r>
            <a:r>
              <a:rPr lang="en-US" dirty="0">
                <a:effectLst/>
              </a:rPr>
              <a:t> [</a:t>
            </a:r>
            <a:r>
              <a:rPr lang="en-US" dirty="0" err="1">
                <a:effectLst/>
              </a:rPr>
              <a:t>Customer_Speed</a:t>
            </a:r>
            <a:r>
              <a:rPr lang="en-US" dirty="0">
                <a:effectLst/>
              </a:rPr>
              <a:t>] ([</a:t>
            </a:r>
            <a:r>
              <a:rPr lang="en-US" dirty="0" err="1">
                <a:effectLst/>
              </a:rPr>
              <a:t>GeographyKey</a:t>
            </a:r>
            <a:r>
              <a:rPr lang="en-US" dirty="0">
                <a:effectLst/>
              </a:rPr>
              <a:t>]); </a:t>
            </a:r>
            <a:r>
              <a:rPr lang="en-US" sz="1200" kern="1200" dirty="0">
                <a:solidFill>
                  <a:schemeClr val="tx1"/>
                </a:solidFill>
                <a:effectLst/>
                <a:latin typeface="+mn-lt"/>
                <a:ea typeface="+mn-ea"/>
                <a:cs typeface="+mn-cs"/>
              </a:rPr>
              <a:t>create</a:t>
            </a:r>
            <a:r>
              <a:rPr lang="en-US" dirty="0">
                <a:effectLst/>
              </a:rPr>
              <a:t> </a:t>
            </a:r>
            <a:r>
              <a:rPr lang="en-US" sz="1200" kern="1200" dirty="0">
                <a:solidFill>
                  <a:schemeClr val="tx1"/>
                </a:solidFill>
                <a:effectLst/>
                <a:latin typeface="+mn-lt"/>
                <a:ea typeface="+mn-ea"/>
                <a:cs typeface="+mn-cs"/>
              </a:rPr>
              <a:t>statistics</a:t>
            </a:r>
            <a:r>
              <a:rPr lang="en-US" dirty="0">
                <a:effectLst/>
              </a:rPr>
              <a:t> [Speed] </a:t>
            </a:r>
            <a:r>
              <a:rPr lang="en-US" sz="1200" kern="1200" dirty="0">
                <a:solidFill>
                  <a:schemeClr val="tx1"/>
                </a:solidFill>
                <a:effectLst/>
                <a:latin typeface="+mn-lt"/>
                <a:ea typeface="+mn-ea"/>
                <a:cs typeface="+mn-cs"/>
              </a:rPr>
              <a:t>on</a:t>
            </a:r>
            <a:r>
              <a:rPr lang="en-US" dirty="0">
                <a:effectLst/>
              </a:rPr>
              <a:t> [</a:t>
            </a:r>
            <a:r>
              <a:rPr lang="en-US" dirty="0" err="1">
                <a:effectLst/>
              </a:rPr>
              <a:t>Customer_Speed</a:t>
            </a:r>
            <a:r>
              <a:rPr lang="en-US" dirty="0">
                <a:effectLst/>
              </a:rPr>
              <a:t>] ([Speed]); </a:t>
            </a:r>
            <a:r>
              <a:rPr lang="en-US" sz="1200" kern="1200" dirty="0">
                <a:solidFill>
                  <a:schemeClr val="tx1"/>
                </a:solidFill>
                <a:effectLst/>
                <a:latin typeface="+mn-lt"/>
                <a:ea typeface="+mn-ea"/>
                <a:cs typeface="+mn-cs"/>
              </a:rPr>
              <a:t>create</a:t>
            </a:r>
            <a:r>
              <a:rPr lang="en-US" dirty="0">
                <a:effectLst/>
              </a:rPr>
              <a:t> </a:t>
            </a:r>
            <a:r>
              <a:rPr lang="en-US" sz="1200" kern="1200" dirty="0">
                <a:solidFill>
                  <a:schemeClr val="tx1"/>
                </a:solidFill>
                <a:effectLst/>
                <a:latin typeface="+mn-lt"/>
                <a:ea typeface="+mn-ea"/>
                <a:cs typeface="+mn-cs"/>
              </a:rPr>
              <a:t>statistics</a:t>
            </a:r>
            <a:r>
              <a:rPr lang="en-US" dirty="0">
                <a:effectLst/>
              </a:rPr>
              <a:t> [</a:t>
            </a:r>
            <a:r>
              <a:rPr lang="en-US" dirty="0" err="1">
                <a:effectLst/>
              </a:rPr>
              <a:t>YearMeasured</a:t>
            </a:r>
            <a:r>
              <a:rPr lang="en-US" dirty="0">
                <a:effectLst/>
              </a:rPr>
              <a:t>] </a:t>
            </a:r>
            <a:r>
              <a:rPr lang="en-US" sz="1200" kern="1200" dirty="0">
                <a:solidFill>
                  <a:schemeClr val="tx1"/>
                </a:solidFill>
                <a:effectLst/>
                <a:latin typeface="+mn-lt"/>
                <a:ea typeface="+mn-ea"/>
                <a:cs typeface="+mn-cs"/>
              </a:rPr>
              <a:t>on</a:t>
            </a:r>
            <a:r>
              <a:rPr lang="en-US" dirty="0">
                <a:effectLst/>
              </a:rPr>
              <a:t> [</a:t>
            </a:r>
            <a:r>
              <a:rPr lang="en-US" dirty="0" err="1">
                <a:effectLst/>
              </a:rPr>
              <a:t>Customer_Speed</a:t>
            </a:r>
            <a:r>
              <a:rPr lang="en-US" dirty="0">
                <a:effectLst/>
              </a:rPr>
              <a:t>] ([</a:t>
            </a:r>
            <a:r>
              <a:rPr lang="en-US" dirty="0" err="1">
                <a:effectLst/>
              </a:rPr>
              <a:t>YearMeasured</a:t>
            </a:r>
            <a:r>
              <a:rPr lang="en-US" dirty="0">
                <a:effectLst/>
              </a:rPr>
              <a:t>]);</a:t>
            </a:r>
            <a:endParaRPr lang="en-US" sz="1200" b="0" i="0" kern="120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dirty="0"/>
          </a:p>
        </p:txBody>
      </p:sp>
    </p:spTree>
    <p:extLst>
      <p:ext uri="{BB962C8B-B14F-4D97-AF65-F5344CB8AC3E}">
        <p14:creationId xmlns:p14="http://schemas.microsoft.com/office/powerpoint/2010/main" val="26000245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102,400 rows / batch (per distribution)</a:t>
            </a:r>
          </a:p>
          <a:p>
            <a:pPr marL="685800" lvl="1" indent="-228600">
              <a:buFont typeface="Arial" panose="020B0604020202020204" pitchFamily="34" charset="0"/>
              <a:buChar char="•"/>
            </a:pPr>
            <a:r>
              <a:rPr lang="en-US" dirty="0"/>
              <a:t>Data that is &lt; 102,400 rows / batch / distribution will be written into the Delta store</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Data that is &gt; 102,400 rows / batch / distribution will bypass the Delta store, and be </a:t>
            </a:r>
            <a:r>
              <a:rPr lang="en-US"/>
              <a:t>compressed directly</a:t>
            </a:r>
            <a:endParaRPr lang="en-US" dirty="0"/>
          </a:p>
          <a:p>
            <a:pPr marL="228600" indent="-228600">
              <a:buAutoNum type="arabicPeriod"/>
            </a:pPr>
            <a:r>
              <a:rPr lang="en-US" dirty="0"/>
              <a:t>Heap / Round-Robin</a:t>
            </a:r>
          </a:p>
          <a:p>
            <a:pPr marL="228600" indent="-228600">
              <a:buAutoNum type="arabicPeriod"/>
            </a:pPr>
            <a:r>
              <a:rPr lang="en-US" dirty="0"/>
              <a:t>Split the data into separate files, to math the # of readers provisioned for the DWU scale.</a:t>
            </a:r>
          </a:p>
          <a:p>
            <a:pPr marL="228600" indent="-228600">
              <a:buAutoNum type="arabicPeriod"/>
            </a:pPr>
            <a:r>
              <a:rPr lang="en-US" dirty="0"/>
              <a:t>Any of:</a:t>
            </a:r>
          </a:p>
          <a:p>
            <a:pPr marL="685800" lvl="1" indent="-228600">
              <a:buFont typeface="Arial" panose="020B0604020202020204" pitchFamily="34" charset="0"/>
              <a:buChar char="•"/>
            </a:pPr>
            <a:r>
              <a:rPr lang="en-US" dirty="0"/>
              <a:t>Memory pressure</a:t>
            </a:r>
          </a:p>
          <a:p>
            <a:pPr marL="685800" lvl="1" indent="-228600">
              <a:buFont typeface="Arial" panose="020B0604020202020204" pitchFamily="34" charset="0"/>
              <a:buChar char="•"/>
            </a:pPr>
            <a:r>
              <a:rPr lang="en-US" dirty="0"/>
              <a:t>Small batch loads (&gt; 102,400 rows but less than 1M rows / batch / distribution)</a:t>
            </a:r>
          </a:p>
          <a:p>
            <a:pPr marL="685800" lvl="1" indent="-228600">
              <a:buFont typeface="Arial" panose="020B0604020202020204" pitchFamily="34" charset="0"/>
              <a:buChar char="•"/>
            </a:pPr>
            <a:r>
              <a:rPr lang="en-US" dirty="0"/>
              <a:t>The remaining rows left over from a bulk load. e.g. 1.25M rows – IM rows will be compressed as an optimal size, the remaining rows will be compressed to a smaller RowGroup</a:t>
            </a:r>
          </a:p>
          <a:p>
            <a:pPr marL="228600" indent="-228600">
              <a:buAutoNum type="arabicPeriod"/>
            </a:pPr>
            <a:r>
              <a:rPr lang="en-US" dirty="0"/>
              <a:t>ELT is Extract Load Transform. </a:t>
            </a:r>
          </a:p>
          <a:p>
            <a:pPr marL="685800" lvl="1" indent="-228600">
              <a:buFont typeface="Arial" panose="020B0604020202020204" pitchFamily="34" charset="0"/>
              <a:buChar char="•"/>
            </a:pPr>
            <a:r>
              <a:rPr lang="en-US" dirty="0"/>
              <a:t>This pattern allows the use of the power of Synapse to perform the Transform step, which can increase performance in the overall load process.</a:t>
            </a:r>
          </a:p>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2014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28</a:t>
            </a:fld>
            <a:endParaRPr lang="en-US"/>
          </a:p>
        </p:txBody>
      </p:sp>
    </p:spTree>
    <p:extLst>
      <p:ext uri="{BB962C8B-B14F-4D97-AF65-F5344CB8AC3E}">
        <p14:creationId xmlns:p14="http://schemas.microsoft.com/office/powerpoint/2010/main" val="22424683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a:p>
        </p:txBody>
      </p:sp>
    </p:spTree>
    <p:extLst>
      <p:ext uri="{BB962C8B-B14F-4D97-AF65-F5344CB8AC3E}">
        <p14:creationId xmlns:p14="http://schemas.microsoft.com/office/powerpoint/2010/main" val="38932709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dirty="0"/>
          </a:p>
          <a:p>
            <a:r>
              <a:rPr lang="en-US" dirty="0"/>
              <a:t>When we think about usage patterns that customers are using today to maximize the value of their data, and become a data driven organization, a modern data warehouse let’s you bring together all your data at scale easily to get you the insights through analytics dashboards, operational reporting or advanced analytics for your users.</a:t>
            </a:r>
          </a:p>
          <a:p>
            <a:br>
              <a:rPr lang="en-US" dirty="0"/>
            </a:br>
            <a:r>
              <a:rPr lang="en-US" dirty="0"/>
              <a:t>The process of building a modern data warehouse typically consists of:</a:t>
            </a:r>
          </a:p>
          <a:p>
            <a:endParaRPr lang="en-US" dirty="0"/>
          </a:p>
          <a:p>
            <a:r>
              <a:rPr lang="en-US" dirty="0"/>
              <a:t>Data Ingestion and Preparation</a:t>
            </a:r>
          </a:p>
          <a:p>
            <a:r>
              <a:rPr lang="en-US" dirty="0"/>
              <a:t>Data Modeling, making the data ready for consumption by analytical tools.</a:t>
            </a:r>
          </a:p>
          <a:p>
            <a:r>
              <a:rPr lang="en-US" dirty="0"/>
              <a:t>Providing access to the data, sin a shaped format so that it can easily be consumed by data visualization tools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22 8:48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83281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architecture/data-guide/relational-data/etl#:~:text=Extract%2C%20load%2C%20and%20transform%20(ELT)%20differs%20from%20ETL,are%20used%20to%20transform%20data.</a:t>
            </a:r>
            <a:endParaRPr lang="en-US" dirty="0"/>
          </a:p>
          <a:p>
            <a:endParaRPr lang="en-US" dirty="0"/>
          </a:p>
          <a:p>
            <a:r>
              <a:rPr lang="en-US" sz="1200" b="0" i="0" kern="1200" dirty="0">
                <a:solidFill>
                  <a:schemeClr val="tx1"/>
                </a:solidFill>
                <a:effectLst/>
                <a:latin typeface="+mn-lt"/>
                <a:ea typeface="+mn-ea"/>
                <a:cs typeface="+mn-cs"/>
              </a:rPr>
              <a:t>Extract, load, and transform (ELT) differs from ETL solely in where the transformation takes place. In the ELT pipeline, the transformation occurs in the target data store. Instead of using a separate transformation engine, the processing capabilities of the target data store are used to transform data. This simplifies the architecture by removing the transformation engine from the pipeline. Another benefit to this approach is that scaling the target data store also scales the ELT pipeline performance. However, ELT only works well when the target system is powerful enough to transform the data efficiently.</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Extract, transform, and load (ETL) is a data pipeline used to collect data from various sources, transform the data according to business rules, and load it into a destination data store. The transformation work in ETL takes place in a specialized engine, and often involves using staging tables to temporarily hold data as it is being transformed and ultimately loaded to its destination.</a:t>
            </a:r>
          </a:p>
          <a:p>
            <a:r>
              <a:rPr lang="en-US" sz="1200" b="0" i="0" kern="1200" dirty="0">
                <a:solidFill>
                  <a:schemeClr val="tx1"/>
                </a:solidFill>
                <a:effectLst/>
                <a:latin typeface="+mn-lt"/>
                <a:ea typeface="+mn-ea"/>
                <a:cs typeface="+mn-cs"/>
              </a:rPr>
              <a:t>The data transformation that takes place usually involves various operations, such as filtering, sorting, aggregating, joining data, cleaning data, deduplicating, and validating data.</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raditional SMP SQL pools use an Extract, Transform, and Load (ETL) process for loading data. Synapse SQL pool, within Azure Synapse Analytics, has a massively parallel processing (MPP) architecture that takes advantage of the scalability and flexibility of compute and storage resources.</a:t>
            </a:r>
          </a:p>
          <a:p>
            <a:r>
              <a:rPr lang="en-US" sz="1200" b="0" i="0" kern="1200" dirty="0">
                <a:solidFill>
                  <a:schemeClr val="tx1"/>
                </a:solidFill>
                <a:effectLst/>
                <a:latin typeface="+mn-lt"/>
                <a:ea typeface="+mn-ea"/>
                <a:cs typeface="+mn-cs"/>
              </a:rPr>
              <a:t>Using an Extract, Load, and Transform (ELT) process leverages MPP and eliminates the resources needed for data transformation prior to loading.</a:t>
            </a:r>
          </a:p>
          <a:p>
            <a:r>
              <a:rPr lang="en-US" sz="1200" b="0" i="0" kern="1200" dirty="0">
                <a:solidFill>
                  <a:schemeClr val="tx1"/>
                </a:solidFill>
                <a:effectLst/>
                <a:latin typeface="+mn-lt"/>
                <a:ea typeface="+mn-ea"/>
                <a:cs typeface="+mn-cs"/>
              </a:rPr>
              <a:t>While SQL pool supports many loading methods, including popular SQL Server options such as </a:t>
            </a:r>
            <a:r>
              <a:rPr lang="en-US" sz="1200" b="0" i="0" u="sng" kern="1200" dirty="0" err="1">
                <a:solidFill>
                  <a:schemeClr val="tx1"/>
                </a:solidFill>
                <a:effectLst/>
                <a:latin typeface="+mn-lt"/>
                <a:ea typeface="+mn-ea"/>
                <a:cs typeface="+mn-cs"/>
                <a:hlinkClick r:id="rId4"/>
              </a:rPr>
              <a:t>bcp</a:t>
            </a:r>
            <a:r>
              <a:rPr lang="en-US" sz="1200" b="0" i="0" kern="1200" dirty="0">
                <a:solidFill>
                  <a:schemeClr val="tx1"/>
                </a:solidFill>
                <a:effectLst/>
                <a:latin typeface="+mn-lt"/>
                <a:ea typeface="+mn-ea"/>
                <a:cs typeface="+mn-cs"/>
              </a:rPr>
              <a:t> and the </a:t>
            </a:r>
            <a:r>
              <a:rPr lang="en-US" sz="1200" b="0" i="0" u="sng" kern="1200" dirty="0" err="1">
                <a:solidFill>
                  <a:schemeClr val="tx1"/>
                </a:solidFill>
                <a:effectLst/>
                <a:latin typeface="+mn-lt"/>
                <a:ea typeface="+mn-ea"/>
                <a:cs typeface="+mn-cs"/>
                <a:hlinkClick r:id="rId5"/>
              </a:rPr>
              <a:t>SqlBulkCopy</a:t>
            </a:r>
            <a:r>
              <a:rPr lang="en-US" sz="1200" b="0" i="0" u="sng" kern="1200" dirty="0">
                <a:solidFill>
                  <a:schemeClr val="tx1"/>
                </a:solidFill>
                <a:effectLst/>
                <a:latin typeface="+mn-lt"/>
                <a:ea typeface="+mn-ea"/>
                <a:cs typeface="+mn-cs"/>
                <a:hlinkClick r:id="rId5"/>
              </a:rPr>
              <a:t> API</a:t>
            </a:r>
            <a:r>
              <a:rPr lang="en-US" sz="1200" b="0" i="0" kern="1200" dirty="0">
                <a:solidFill>
                  <a:schemeClr val="tx1"/>
                </a:solidFill>
                <a:effectLst/>
                <a:latin typeface="+mn-lt"/>
                <a:ea typeface="+mn-ea"/>
                <a:cs typeface="+mn-cs"/>
              </a:rPr>
              <a:t>, the fastest and most scalable way to load data is through PolyBase external tables and the </a:t>
            </a:r>
            <a:r>
              <a:rPr lang="en-US" sz="1200" b="0" i="0" u="sng" kern="1200" dirty="0">
                <a:solidFill>
                  <a:schemeClr val="tx1"/>
                </a:solidFill>
                <a:effectLst/>
                <a:latin typeface="+mn-lt"/>
                <a:ea typeface="+mn-ea"/>
                <a:cs typeface="+mn-cs"/>
                <a:hlinkClick r:id="rId6"/>
              </a:rPr>
              <a:t>COPY statement</a:t>
            </a:r>
            <a:r>
              <a:rPr lang="en-US" sz="1200" b="0" i="0" kern="1200" dirty="0">
                <a:solidFill>
                  <a:schemeClr val="tx1"/>
                </a:solidFill>
                <a:effectLst/>
                <a:latin typeface="+mn-lt"/>
                <a:ea typeface="+mn-ea"/>
                <a:cs typeface="+mn-cs"/>
              </a:rPr>
              <a:t> (preview).</a:t>
            </a:r>
          </a:p>
          <a:p>
            <a:r>
              <a:rPr lang="en-US" sz="1200" b="0" i="0" kern="1200" dirty="0">
                <a:solidFill>
                  <a:schemeClr val="tx1"/>
                </a:solidFill>
                <a:effectLst/>
                <a:latin typeface="+mn-lt"/>
                <a:ea typeface="+mn-ea"/>
                <a:cs typeface="+mn-cs"/>
              </a:rPr>
              <a:t>With PolyBase and the COPY statement, you can access external data stored in Azure Blob storage or Azure Data Lake Store via the T-SQL language. For the most flexibility when loading, we recommend using the COPY statement.</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dirty="0"/>
          </a:p>
        </p:txBody>
      </p:sp>
    </p:spTree>
    <p:extLst>
      <p:ext uri="{BB962C8B-B14F-4D97-AF65-F5344CB8AC3E}">
        <p14:creationId xmlns:p14="http://schemas.microsoft.com/office/powerpoint/2010/main" val="35217191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ynapse-analytics/sql-data-warehouse/design-elt-data-loading</a:t>
            </a:r>
            <a:endParaRPr lang="en-US" dirty="0"/>
          </a:p>
          <a:p>
            <a:endParaRPr lang="en-US" dirty="0"/>
          </a:p>
          <a:p>
            <a:r>
              <a:rPr lang="en-US" sz="1200" b="0" i="0" kern="1200" dirty="0">
                <a:solidFill>
                  <a:schemeClr val="tx1"/>
                </a:solidFill>
                <a:effectLst/>
                <a:latin typeface="+mn-lt"/>
                <a:ea typeface="+mn-ea"/>
                <a:cs typeface="+mn-cs"/>
              </a:rPr>
              <a:t>Traditional SMP SQL pools use an Extract, Transform, and Load (ETL) process for loading data. Synapse SQL pool, within Azure Synapse Analytics, has a massively parallel processing (MPP) architecture that takes advantage of the scalability and flexibility of compute and storage resourc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Using an Extract, Load, and Transform (ELT) process leverages MPP and eliminates the resources needed for data transformation prior to loading.</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hile SQL pool supports many loading methods, including popular SQL Server options such as </a:t>
            </a:r>
            <a:r>
              <a:rPr lang="en-US" sz="1200" b="0" i="0" u="sng" kern="1200" dirty="0" err="1">
                <a:solidFill>
                  <a:schemeClr val="tx1"/>
                </a:solidFill>
                <a:effectLst/>
                <a:latin typeface="+mn-lt"/>
                <a:ea typeface="+mn-ea"/>
                <a:cs typeface="+mn-cs"/>
                <a:hlinkClick r:id="rId4"/>
              </a:rPr>
              <a:t>bcp</a:t>
            </a:r>
            <a:r>
              <a:rPr lang="en-US" sz="1200" b="0" i="0" kern="1200" dirty="0">
                <a:solidFill>
                  <a:schemeClr val="tx1"/>
                </a:solidFill>
                <a:effectLst/>
                <a:latin typeface="+mn-lt"/>
                <a:ea typeface="+mn-ea"/>
                <a:cs typeface="+mn-cs"/>
              </a:rPr>
              <a:t> and the </a:t>
            </a:r>
            <a:r>
              <a:rPr lang="en-US" sz="1200" b="0" i="0" u="sng" kern="1200" dirty="0" err="1">
                <a:solidFill>
                  <a:schemeClr val="tx1"/>
                </a:solidFill>
                <a:effectLst/>
                <a:latin typeface="+mn-lt"/>
                <a:ea typeface="+mn-ea"/>
                <a:cs typeface="+mn-cs"/>
                <a:hlinkClick r:id="rId5"/>
              </a:rPr>
              <a:t>SqlBulkCopy</a:t>
            </a:r>
            <a:r>
              <a:rPr lang="en-US" sz="1200" b="0" i="0" u="sng" kern="1200" dirty="0">
                <a:solidFill>
                  <a:schemeClr val="tx1"/>
                </a:solidFill>
                <a:effectLst/>
                <a:latin typeface="+mn-lt"/>
                <a:ea typeface="+mn-ea"/>
                <a:cs typeface="+mn-cs"/>
                <a:hlinkClick r:id="rId5"/>
              </a:rPr>
              <a:t> API</a:t>
            </a:r>
            <a:r>
              <a:rPr lang="en-US" sz="1200" b="0" i="0" kern="1200" dirty="0">
                <a:solidFill>
                  <a:schemeClr val="tx1"/>
                </a:solidFill>
                <a:effectLst/>
                <a:latin typeface="+mn-lt"/>
                <a:ea typeface="+mn-ea"/>
                <a:cs typeface="+mn-cs"/>
              </a:rPr>
              <a:t>, the fastest and most scalable way to load data is through PolyBase external tables and the </a:t>
            </a:r>
            <a:r>
              <a:rPr lang="en-US" sz="1200" b="0" i="0" u="sng" kern="1200" dirty="0">
                <a:solidFill>
                  <a:schemeClr val="tx1"/>
                </a:solidFill>
                <a:effectLst/>
                <a:latin typeface="+mn-lt"/>
                <a:ea typeface="+mn-ea"/>
                <a:cs typeface="+mn-cs"/>
                <a:hlinkClick r:id="rId6"/>
              </a:rPr>
              <a:t>COPY statement</a:t>
            </a:r>
            <a:r>
              <a:rPr lang="en-US" sz="1200" b="0" i="0" kern="1200" dirty="0">
                <a:solidFill>
                  <a:schemeClr val="tx1"/>
                </a:solidFill>
                <a:effectLst/>
                <a:latin typeface="+mn-lt"/>
                <a:ea typeface="+mn-ea"/>
                <a:cs typeface="+mn-cs"/>
              </a:rPr>
              <a:t> (preview).</a:t>
            </a:r>
          </a:p>
          <a:p>
            <a:r>
              <a:rPr lang="en-US" sz="1200" b="0" i="0" kern="1200" dirty="0">
                <a:solidFill>
                  <a:schemeClr val="tx1"/>
                </a:solidFill>
                <a:effectLst/>
                <a:latin typeface="+mn-lt"/>
                <a:ea typeface="+mn-ea"/>
                <a:cs typeface="+mn-cs"/>
              </a:rPr>
              <a:t>With PolyBase and the COPY statement, you can access external data stored in Azure Blob storage or Azure Data Lake Store via the T-SQL language. For the most flexibility when loading, we recommend using the COPY statement.</a:t>
            </a:r>
          </a:p>
          <a:p>
            <a:r>
              <a:rPr lang="en-US" sz="1200" b="1" i="0" kern="1200" dirty="0">
                <a:solidFill>
                  <a:schemeClr val="tx1"/>
                </a:solidFill>
                <a:effectLst/>
                <a:latin typeface="+mn-lt"/>
                <a:ea typeface="+mn-ea"/>
                <a:cs typeface="+mn-cs"/>
              </a:rPr>
              <a:t> </a:t>
            </a:r>
          </a:p>
          <a:p>
            <a:r>
              <a:rPr lang="en-US" sz="1200" b="1" i="0" kern="1200" dirty="0">
                <a:solidFill>
                  <a:schemeClr val="tx1"/>
                </a:solidFill>
                <a:effectLst/>
                <a:latin typeface="+mn-lt"/>
                <a:ea typeface="+mn-ea"/>
                <a:cs typeface="+mn-cs"/>
              </a:rPr>
              <a:t>Note</a:t>
            </a:r>
          </a:p>
          <a:p>
            <a:r>
              <a:rPr lang="en-US" sz="1200" b="0" i="0" kern="1200" dirty="0">
                <a:solidFill>
                  <a:schemeClr val="tx1"/>
                </a:solidFill>
                <a:effectLst/>
                <a:latin typeface="+mn-lt"/>
                <a:ea typeface="+mn-ea"/>
                <a:cs typeface="+mn-cs"/>
              </a:rPr>
              <a:t>The COPY statement is currently in public preview. To provide feedback, send email to the following distribution list: sqldwcopypreview@service.microsoft.com.</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dirty="0"/>
          </a:p>
        </p:txBody>
      </p:sp>
    </p:spTree>
    <p:extLst>
      <p:ext uri="{BB962C8B-B14F-4D97-AF65-F5344CB8AC3E}">
        <p14:creationId xmlns:p14="http://schemas.microsoft.com/office/powerpoint/2010/main" val="16278964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sz="1200" b="1" i="0" kern="1200" dirty="0">
                <a:solidFill>
                  <a:schemeClr val="tx1"/>
                </a:solidFill>
                <a:effectLst/>
                <a:latin typeface="+mn-lt"/>
                <a:ea typeface="+mn-ea"/>
                <a:cs typeface="+mn-cs"/>
              </a:rPr>
            </a:br>
            <a:r>
              <a:rPr lang="en-US" sz="1200" b="1" i="0" kern="1200" dirty="0">
                <a:solidFill>
                  <a:schemeClr val="tx1"/>
                </a:solidFill>
                <a:effectLst/>
                <a:latin typeface="+mn-lt"/>
                <a:ea typeface="+mn-ea"/>
                <a:cs typeface="+mn-cs"/>
              </a:rPr>
              <a:t>1. Extract the source data into text files</a:t>
            </a:r>
          </a:p>
          <a:p>
            <a:r>
              <a:rPr lang="en-US" sz="1200" b="0" i="0" kern="1200" dirty="0">
                <a:solidFill>
                  <a:schemeClr val="tx1"/>
                </a:solidFill>
                <a:effectLst/>
                <a:latin typeface="+mn-lt"/>
                <a:ea typeface="+mn-ea"/>
                <a:cs typeface="+mn-cs"/>
              </a:rPr>
              <a:t>Getting data out of your source system depends on the storage location. The goal is to move the data into supported delimited text or CSV files.</a:t>
            </a:r>
          </a:p>
          <a:p>
            <a:r>
              <a:rPr lang="en-US" sz="1200" b="1" i="0" kern="1200" dirty="0">
                <a:solidFill>
                  <a:schemeClr val="tx1"/>
                </a:solidFill>
                <a:effectLst/>
                <a:latin typeface="+mn-lt"/>
                <a:ea typeface="+mn-ea"/>
                <a:cs typeface="+mn-cs"/>
              </a:rPr>
              <a:t>Supported file formats</a:t>
            </a:r>
          </a:p>
          <a:p>
            <a:r>
              <a:rPr lang="en-US" sz="1200" b="0" i="0" kern="1200" dirty="0">
                <a:solidFill>
                  <a:schemeClr val="tx1"/>
                </a:solidFill>
                <a:effectLst/>
                <a:latin typeface="+mn-lt"/>
                <a:ea typeface="+mn-ea"/>
                <a:cs typeface="+mn-cs"/>
              </a:rPr>
              <a:t>With PolyBase and the COPY statement, you can load data from UTF-8 and UTF-16 encoded delimited text or CSV files. In addition to delimited text or CSV files, it loads from the Hadoop file formats such as ORC and Parquet. PolyBase and the COPY statement can also load data from </a:t>
            </a:r>
            <a:r>
              <a:rPr lang="en-US" sz="1200" b="0" i="0" kern="1200" dirty="0" err="1">
                <a:solidFill>
                  <a:schemeClr val="tx1"/>
                </a:solidFill>
                <a:effectLst/>
                <a:latin typeface="+mn-lt"/>
                <a:ea typeface="+mn-ea"/>
                <a:cs typeface="+mn-cs"/>
              </a:rPr>
              <a:t>Gzip</a:t>
            </a:r>
            <a:r>
              <a:rPr lang="en-US" sz="1200" b="0" i="0" kern="1200" dirty="0">
                <a:solidFill>
                  <a:schemeClr val="tx1"/>
                </a:solidFill>
                <a:effectLst/>
                <a:latin typeface="+mn-lt"/>
                <a:ea typeface="+mn-ea"/>
                <a:cs typeface="+mn-cs"/>
              </a:rPr>
              <a:t> and Snappy compressed files.</a:t>
            </a:r>
          </a:p>
          <a:p>
            <a:r>
              <a:rPr lang="en-US" sz="1200" b="0" i="0" kern="1200" dirty="0">
                <a:solidFill>
                  <a:schemeClr val="tx1"/>
                </a:solidFill>
                <a:effectLst/>
                <a:latin typeface="+mn-lt"/>
                <a:ea typeface="+mn-ea"/>
                <a:cs typeface="+mn-cs"/>
              </a:rPr>
              <a:t>Extended ASCII, fixed-width format, and nested formats such as WinZip or XML aren't supported. If you're exporting from SQL Server, you can use the </a:t>
            </a:r>
            <a:r>
              <a:rPr lang="en-US" sz="1200" b="0" i="0" u="sng" kern="1200" dirty="0" err="1">
                <a:solidFill>
                  <a:schemeClr val="tx1"/>
                </a:solidFill>
                <a:effectLst/>
                <a:latin typeface="+mn-lt"/>
                <a:ea typeface="+mn-ea"/>
                <a:cs typeface="+mn-cs"/>
                <a:hlinkClick r:id="rId3"/>
              </a:rPr>
              <a:t>bcp</a:t>
            </a:r>
            <a:r>
              <a:rPr lang="en-US" sz="1200" b="0" i="0" u="sng" kern="1200" dirty="0">
                <a:solidFill>
                  <a:schemeClr val="tx1"/>
                </a:solidFill>
                <a:effectLst/>
                <a:latin typeface="+mn-lt"/>
                <a:ea typeface="+mn-ea"/>
                <a:cs typeface="+mn-cs"/>
                <a:hlinkClick r:id="rId3"/>
              </a:rPr>
              <a:t> command-line tool</a:t>
            </a:r>
            <a:r>
              <a:rPr lang="en-US" sz="1200" b="0" i="0" kern="1200" dirty="0">
                <a:solidFill>
                  <a:schemeClr val="tx1"/>
                </a:solidFill>
                <a:effectLst/>
                <a:latin typeface="+mn-lt"/>
                <a:ea typeface="+mn-ea"/>
                <a:cs typeface="+mn-cs"/>
              </a:rPr>
              <a:t> to export the data into delimited text files.</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dirty="0"/>
          </a:p>
        </p:txBody>
      </p:sp>
    </p:spTree>
    <p:extLst>
      <p:ext uri="{BB962C8B-B14F-4D97-AF65-F5344CB8AC3E}">
        <p14:creationId xmlns:p14="http://schemas.microsoft.com/office/powerpoint/2010/main" val="17944646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Land the data into Azure Blob storage or Azure Data Lake Store</a:t>
            </a:r>
          </a:p>
          <a:p>
            <a:r>
              <a:rPr lang="en-US" sz="1200" b="0" i="0" kern="1200" dirty="0">
                <a:solidFill>
                  <a:schemeClr val="tx1"/>
                </a:solidFill>
                <a:effectLst/>
                <a:latin typeface="+mn-lt"/>
                <a:ea typeface="+mn-ea"/>
                <a:cs typeface="+mn-cs"/>
              </a:rPr>
              <a:t>To land the data in Azure storage, you can move it to </a:t>
            </a:r>
            <a:r>
              <a:rPr lang="en-US" sz="1200" b="0" i="0" u="sng" kern="1200" dirty="0">
                <a:solidFill>
                  <a:schemeClr val="tx1"/>
                </a:solidFill>
                <a:effectLst/>
                <a:latin typeface="+mn-lt"/>
                <a:ea typeface="+mn-ea"/>
                <a:cs typeface="+mn-cs"/>
                <a:hlinkClick r:id="rId3"/>
              </a:rPr>
              <a:t>Azure Blob storage</a:t>
            </a:r>
            <a:r>
              <a:rPr lang="en-US" sz="1200" b="0" i="0" kern="1200" dirty="0">
                <a:solidFill>
                  <a:schemeClr val="tx1"/>
                </a:solidFill>
                <a:effectLst/>
                <a:latin typeface="+mn-lt"/>
                <a:ea typeface="+mn-ea"/>
                <a:cs typeface="+mn-cs"/>
              </a:rPr>
              <a:t> or </a:t>
            </a:r>
            <a:r>
              <a:rPr lang="en-US" sz="1200" b="0" i="0" u="sng" kern="1200" dirty="0">
                <a:solidFill>
                  <a:schemeClr val="tx1"/>
                </a:solidFill>
                <a:effectLst/>
                <a:latin typeface="+mn-lt"/>
                <a:ea typeface="+mn-ea"/>
                <a:cs typeface="+mn-cs"/>
                <a:hlinkClick r:id="rId4"/>
              </a:rPr>
              <a:t>Azure Data Lake Store Gen2</a:t>
            </a:r>
            <a:r>
              <a:rPr lang="en-US" sz="1200" b="0" i="0" kern="1200" dirty="0">
                <a:solidFill>
                  <a:schemeClr val="tx1"/>
                </a:solidFill>
                <a:effectLst/>
                <a:latin typeface="+mn-lt"/>
                <a:ea typeface="+mn-ea"/>
                <a:cs typeface="+mn-cs"/>
              </a:rPr>
              <a:t>. In either location, the data should be stored in text files. PolyBase and the COPY statement can load from either location.</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ools and services you can use to move data to Azure Storage:</a:t>
            </a:r>
          </a:p>
          <a:p>
            <a:r>
              <a:rPr lang="en-US" sz="1200" b="0" i="0" u="none" strike="noStrike" kern="1200" dirty="0">
                <a:solidFill>
                  <a:schemeClr val="tx1"/>
                </a:solidFill>
                <a:effectLst/>
                <a:latin typeface="+mn-lt"/>
                <a:ea typeface="+mn-ea"/>
                <a:cs typeface="+mn-cs"/>
                <a:hlinkClick r:id="rId5"/>
              </a:rPr>
              <a:t>Azure ExpressRoute</a:t>
            </a:r>
            <a:r>
              <a:rPr lang="en-US" sz="1200" b="0" i="0" kern="1200" dirty="0">
                <a:solidFill>
                  <a:schemeClr val="tx1"/>
                </a:solidFill>
                <a:effectLst/>
                <a:latin typeface="+mn-lt"/>
                <a:ea typeface="+mn-ea"/>
                <a:cs typeface="+mn-cs"/>
              </a:rPr>
              <a:t> service enhances network throughput, performance, and predictability. ExpressRoute is a service that routes your data through a dedicated private connection to Azure. ExpressRoute connections do not route data through the public internet. The connections offer more reliability, faster speeds, lower latencies, and higher security than typical connections over the public internet.</a:t>
            </a:r>
          </a:p>
          <a:p>
            <a:r>
              <a:rPr lang="en-US" sz="1200" b="0" i="0" u="none" strike="noStrike" kern="1200" dirty="0">
                <a:solidFill>
                  <a:schemeClr val="tx1"/>
                </a:solidFill>
                <a:effectLst/>
                <a:latin typeface="+mn-lt"/>
                <a:ea typeface="+mn-ea"/>
                <a:cs typeface="+mn-cs"/>
                <a:hlinkClick r:id="rId6"/>
              </a:rPr>
              <a:t>AZCopy utility</a:t>
            </a:r>
            <a:r>
              <a:rPr lang="en-US" sz="1200" b="0" i="0" kern="1200" dirty="0">
                <a:solidFill>
                  <a:schemeClr val="tx1"/>
                </a:solidFill>
                <a:effectLst/>
                <a:latin typeface="+mn-lt"/>
                <a:ea typeface="+mn-ea"/>
                <a:cs typeface="+mn-cs"/>
              </a:rPr>
              <a:t> moves data to Azure Storage over the public internet. This works if your data sizes are less than 10 TB. To perform loads on a regular basis with AZCopy, test the network speed to see if it is acceptable.</a:t>
            </a:r>
          </a:p>
          <a:p>
            <a:r>
              <a:rPr lang="en-US" sz="1200" b="0" i="0" u="none" strike="noStrike" kern="1200" dirty="0">
                <a:solidFill>
                  <a:schemeClr val="tx1"/>
                </a:solidFill>
                <a:effectLst/>
                <a:latin typeface="+mn-lt"/>
                <a:ea typeface="+mn-ea"/>
                <a:cs typeface="+mn-cs"/>
                <a:hlinkClick r:id="rId7"/>
              </a:rPr>
              <a:t>Azure Data Factory (ADF)</a:t>
            </a:r>
            <a:r>
              <a:rPr lang="en-US" sz="1200" b="0" i="0" kern="1200" dirty="0">
                <a:solidFill>
                  <a:schemeClr val="tx1"/>
                </a:solidFill>
                <a:effectLst/>
                <a:latin typeface="+mn-lt"/>
                <a:ea typeface="+mn-ea"/>
                <a:cs typeface="+mn-cs"/>
              </a:rPr>
              <a:t> has a gateway that you can install on your local server. Then you can create a pipeline to move data from your local server up to Azure Storage. To use Data Factory with SQL pool, see </a:t>
            </a:r>
            <a:r>
              <a:rPr lang="en-US" sz="1200" b="0" i="0" u="none" strike="noStrike" kern="1200" dirty="0">
                <a:solidFill>
                  <a:schemeClr val="tx1"/>
                </a:solidFill>
                <a:effectLst/>
                <a:latin typeface="+mn-lt"/>
                <a:ea typeface="+mn-ea"/>
                <a:cs typeface="+mn-cs"/>
                <a:hlinkClick r:id="rId8"/>
              </a:rPr>
              <a:t>Loading data for SQL pool</a:t>
            </a:r>
            <a:r>
              <a:rPr lang="en-US" sz="1200" b="0" i="0" kern="1200" dirty="0">
                <a:solidFill>
                  <a:schemeClr val="tx1"/>
                </a:solidFill>
                <a:effectLst/>
                <a:latin typeface="+mn-lt"/>
                <a:ea typeface="+mn-ea"/>
                <a:cs typeface="+mn-cs"/>
              </a:rPr>
              <a:t>.</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dirty="0"/>
          </a:p>
        </p:txBody>
      </p:sp>
    </p:spTree>
    <p:extLst>
      <p:ext uri="{BB962C8B-B14F-4D97-AF65-F5344CB8AC3E}">
        <p14:creationId xmlns:p14="http://schemas.microsoft.com/office/powerpoint/2010/main" val="16929521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545345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079772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60493802"/>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05866686"/>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487862058"/>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99296091"/>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6953265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8048588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87671424"/>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470757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625524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58343782"/>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7876303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609644903"/>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50516892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6036070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863220914"/>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4780803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0899348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8208813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6171234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663077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53083146"/>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050898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97389893"/>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73658458"/>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6416403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5164245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1896530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51644994"/>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014809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2049508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0392644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1688381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757103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00173248"/>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21197323"/>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27532658"/>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740668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1634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0690989"/>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126918"/>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251395128"/>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220331825"/>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5555522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3273815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44172641"/>
      </p:ext>
    </p:extLst>
  </p:cSld>
  <p:clrMapOvr>
    <a:masterClrMapping/>
  </p:clrMapOvr>
  <p:transition>
    <p:fade/>
  </p:transition>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2304529582"/>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00" b="1" i="0">
                <a:solidFill>
                  <a:srgbClr val="0078D3"/>
                </a:solidFill>
                <a:latin typeface="Segoe UI Semibold"/>
                <a:cs typeface="Segoe UI Semibold"/>
              </a:defRPr>
            </a:lvl1pPr>
          </a:lstStyle>
          <a:p>
            <a:endParaRPr/>
          </a:p>
        </p:txBody>
      </p:sp>
      <p:sp>
        <p:nvSpPr>
          <p:cNvPr id="3" name="Holder 3"/>
          <p:cNvSpPr>
            <a:spLocks noGrp="1"/>
          </p:cNvSpPr>
          <p:nvPr>
            <p:ph type="body" idx="1"/>
          </p:nvPr>
        </p:nvSpPr>
        <p:spPr/>
        <p:txBody>
          <a:bodyPr lIns="0" tIns="0" rIns="0" bIns="0"/>
          <a:lstStyle>
            <a:lvl1pPr>
              <a:defRPr sz="1200" b="0" i="0">
                <a:solidFill>
                  <a:srgbClr val="202020"/>
                </a:solidFill>
                <a:latin typeface="Consolas"/>
                <a:cs typeface="Consola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0/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76157744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80616"/>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223955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
            <a:ext cx="12192000" cy="692497"/>
          </a:xfrm>
        </p:spPr>
        <p:txBody>
          <a:bodyPr lIns="274320" tIns="228600" anchor="t" anchorCtr="0"/>
          <a:lstStyle>
            <a:lvl1pPr>
              <a:defRPr/>
            </a:lvl1pPr>
          </a:lstStyle>
          <a:p>
            <a:r>
              <a:rPr lang="en-US"/>
              <a:t>Title</a:t>
            </a:r>
          </a:p>
        </p:txBody>
      </p:sp>
    </p:spTree>
    <p:extLst>
      <p:ext uri="{BB962C8B-B14F-4D97-AF65-F5344CB8AC3E}">
        <p14:creationId xmlns:p14="http://schemas.microsoft.com/office/powerpoint/2010/main" val="355267922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86517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57197322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1724143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88510027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615635194"/>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1030067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3873207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6780693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622832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25399896"/>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54204857"/>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475374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1957106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0924085"/>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6030588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9991455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896336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835463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8146991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7193247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9982725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1670883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0984815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33803398"/>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4874136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0409520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58195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658959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886743771"/>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9211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145681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70700319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0748117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06495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r>
              <a:rPr lang="en-US"/>
              <a:t>Click to edit Master title style</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214341192"/>
      </p:ext>
    </p:extLst>
  </p:cSld>
  <p:clrMapOvr>
    <a:masterClrMapping/>
  </p:clrMapOvr>
  <p:transition>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214341192"/>
      </p:ext>
    </p:extLst>
  </p:cSld>
  <p:clrMapOvr>
    <a:masterClrMapping/>
  </p:clrMapOvr>
  <p:transition>
    <p:fade/>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301967845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60"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37063530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60"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5067850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277184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3" y="3524"/>
            <a:ext cx="6858000" cy="6858000"/>
          </a:xfrm>
          <a:no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387031062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9"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bg1"/>
                </a:solidFill>
              </a:defRPr>
            </a:lvl1pPr>
            <a:lvl2pPr marL="0" indent="0" algn="l" defTabSz="932508">
              <a:lnSpc>
                <a:spcPct val="100000"/>
              </a:lnSpc>
              <a:spcBef>
                <a:spcPts val="672"/>
              </a:spcBef>
              <a:buFontTx/>
              <a:buNone/>
              <a:defRPr sz="2200" baseline="0">
                <a:solidFill>
                  <a:schemeClr val="bg1"/>
                </a:solidFill>
              </a:defRPr>
            </a:lvl2pPr>
            <a:lvl3pPr marL="0" indent="0" algn="l" defTabSz="932508">
              <a:lnSpc>
                <a:spcPct val="100000"/>
              </a:lnSpc>
              <a:spcBef>
                <a:spcPts val="672"/>
              </a:spcBef>
              <a:buFontTx/>
              <a:buNone/>
              <a:defRPr sz="2200" baseline="0">
                <a:solidFill>
                  <a:schemeClr val="bg1"/>
                </a:solidFill>
              </a:defRPr>
            </a:lvl3pPr>
            <a:lvl4pPr marL="0" indent="0" algn="l" defTabSz="93250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508">
              <a:lnSpc>
                <a:spcPct val="100000"/>
              </a:lnSpc>
              <a:spcBef>
                <a:spcPts val="672"/>
              </a:spcBef>
              <a:buFontTx/>
              <a:buNone/>
              <a:defRPr sz="2200" baseline="0">
                <a:solidFill>
                  <a:schemeClr val="bg1"/>
                </a:solidFill>
              </a:defRPr>
            </a:lvl6pPr>
            <a:lvl7pPr marL="0" indent="0" algn="l" defTabSz="932508">
              <a:lnSpc>
                <a:spcPct val="100000"/>
              </a:lnSpc>
              <a:spcBef>
                <a:spcPts val="672"/>
              </a:spcBef>
              <a:buFontTx/>
              <a:buNone/>
              <a:defRPr sz="2200" baseline="0">
                <a:solidFill>
                  <a:schemeClr val="bg1"/>
                </a:solidFill>
              </a:defRPr>
            </a:lvl7pPr>
            <a:lvl8pPr marL="0" indent="0" algn="l" defTabSz="932508">
              <a:lnSpc>
                <a:spcPct val="100000"/>
              </a:lnSpc>
              <a:spcBef>
                <a:spcPts val="672"/>
              </a:spcBef>
              <a:buFontTx/>
              <a:buNone/>
              <a:defRPr sz="2200" baseline="0">
                <a:solidFill>
                  <a:schemeClr val="bg1"/>
                </a:solidFill>
              </a:defRPr>
            </a:lvl8pPr>
            <a:lvl9pPr marL="0" indent="0" algn="l" defTabSz="93250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3" y="3524"/>
            <a:ext cx="6858000" cy="6854476"/>
          </a:xfrm>
          <a:solidFill>
            <a:srgbClr val="0078D4"/>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3294532976"/>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18035316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508">
              <a:lnSpc>
                <a:spcPct val="100000"/>
              </a:lnSpc>
              <a:spcBef>
                <a:spcPts val="672"/>
              </a:spcBef>
              <a:buFontTx/>
              <a:buNone/>
              <a:defRPr sz="2200" baseline="0">
                <a:solidFill>
                  <a:schemeClr val="bg1"/>
                </a:solidFill>
              </a:defRPr>
            </a:lvl1pPr>
            <a:lvl2pPr marL="0" indent="0" algn="l" defTabSz="932508">
              <a:lnSpc>
                <a:spcPct val="100000"/>
              </a:lnSpc>
              <a:spcBef>
                <a:spcPts val="672"/>
              </a:spcBef>
              <a:buFontTx/>
              <a:buNone/>
              <a:defRPr sz="2200" baseline="0">
                <a:solidFill>
                  <a:schemeClr val="bg1"/>
                </a:solidFill>
              </a:defRPr>
            </a:lvl2pPr>
            <a:lvl3pPr marL="0" indent="0" algn="l" defTabSz="932508">
              <a:lnSpc>
                <a:spcPct val="100000"/>
              </a:lnSpc>
              <a:spcBef>
                <a:spcPts val="672"/>
              </a:spcBef>
              <a:buFontTx/>
              <a:buNone/>
              <a:defRPr sz="2200" baseline="0">
                <a:solidFill>
                  <a:schemeClr val="bg1"/>
                </a:solidFill>
              </a:defRPr>
            </a:lvl3pPr>
            <a:lvl4pPr marL="0" indent="0" algn="l" defTabSz="93250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508">
              <a:lnSpc>
                <a:spcPct val="100000"/>
              </a:lnSpc>
              <a:spcBef>
                <a:spcPts val="672"/>
              </a:spcBef>
              <a:buFontTx/>
              <a:buNone/>
              <a:defRPr sz="2200" baseline="0">
                <a:solidFill>
                  <a:schemeClr val="bg1"/>
                </a:solidFill>
              </a:defRPr>
            </a:lvl6pPr>
            <a:lvl7pPr marL="0" indent="0" algn="l" defTabSz="932508">
              <a:lnSpc>
                <a:spcPct val="100000"/>
              </a:lnSpc>
              <a:spcBef>
                <a:spcPts val="672"/>
              </a:spcBef>
              <a:buFontTx/>
              <a:buNone/>
              <a:defRPr sz="2200" baseline="0">
                <a:solidFill>
                  <a:schemeClr val="bg1"/>
                </a:solidFill>
              </a:defRPr>
            </a:lvl7pPr>
            <a:lvl8pPr marL="0" indent="0" algn="l" defTabSz="932508">
              <a:lnSpc>
                <a:spcPct val="100000"/>
              </a:lnSpc>
              <a:spcBef>
                <a:spcPts val="672"/>
              </a:spcBef>
              <a:buFontTx/>
              <a:buNone/>
              <a:defRPr sz="2200" baseline="0">
                <a:solidFill>
                  <a:schemeClr val="bg1"/>
                </a:solidFill>
              </a:defRPr>
            </a:lvl8pPr>
            <a:lvl9pPr marL="0" indent="0" algn="l" defTabSz="93250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1922604308"/>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2606089839"/>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45117154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8606367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1471922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5"/>
            <a:ext cx="10880726" cy="4819650"/>
          </a:xfrm>
          <a:prstGeom prst="rect">
            <a:avLst/>
          </a:prstGeom>
        </p:spPr>
        <p:txBody>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9326602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4"/>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7" y="1408114"/>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178488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6210667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4"/>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7" y="1408114"/>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138267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91620390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765985375"/>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51751284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312923766"/>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188273617"/>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6267243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1"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0724070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4"/>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4980317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4"/>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5831143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64991234"/>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4"/>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9" y="630238"/>
            <a:ext cx="4352925" cy="5597525"/>
          </a:xfrm>
          <a:prstGeom prst="rect">
            <a:avLst/>
          </a:prstGeom>
        </p:spPr>
        <p:txBody>
          <a:bodyPr vert="horz" lIns="0" tIns="0" rIns="0" bIns="0" rtlCol="0">
            <a:normAutofit/>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61524"/>
          </a:xfrm>
          <a:solidFill>
            <a:srgbClr val="243A5E"/>
          </a:solidFill>
        </p:spPr>
        <p:txBody>
          <a:bodyPr tIns="18288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599896036"/>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8" y="2979739"/>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61524"/>
          </a:xfrm>
          <a:solidFill>
            <a:srgbClr val="243A5E"/>
          </a:solidFill>
        </p:spPr>
        <p:txBody>
          <a:bodyPr tIns="18288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94517235"/>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1" y="1"/>
            <a:ext cx="12191682" cy="4672013"/>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200550693"/>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1"/>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1" y="2030414"/>
            <a:ext cx="12191682" cy="4827586"/>
          </a:xfrm>
          <a:solidFill>
            <a:srgbClr val="243A5E"/>
          </a:solidFill>
        </p:spPr>
        <p:txBody>
          <a:bodyPr tIns="1005840" anchor="t">
            <a:noAutofit/>
          </a:bodyPr>
          <a:lstStyle>
            <a:lvl1pPr marL="0" marR="0" indent="0" algn="ctr" defTabSz="93250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14057678"/>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3"/>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6"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1022623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3"/>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6"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9716706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5"/>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05465"/>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2"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9"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199620641"/>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5"/>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05465"/>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2"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9"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4710467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9" y="4672015"/>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5"/>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9"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3"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1"/>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178913594"/>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9" y="4672015"/>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5"/>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9"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3"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1"/>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0219210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4508284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9" y="1436688"/>
            <a:ext cx="7181850" cy="4832350"/>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1"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43" indent="-168243">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5831391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9" y="1436688"/>
            <a:ext cx="7181850" cy="4832350"/>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1"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43" indent="-168243">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8419234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8" y="786383"/>
            <a:ext cx="6735763"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293"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9" y="1397002"/>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529" indent="-342834">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99895830"/>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8" y="630239"/>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9"/>
            <a:ext cx="6527800" cy="5597525"/>
          </a:xfrm>
          <a:prstGeom prst="rect">
            <a:avLst/>
          </a:prstGeom>
        </p:spPr>
        <p:txBody>
          <a:bodyPr anchor="ctr" anchorCtr="0">
            <a:noAutofit/>
          </a:bodyPr>
          <a:lstStyle>
            <a:lvl1pPr marL="457112" indent="-457112">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79131754"/>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1"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9"/>
            <a:ext cx="6527800" cy="5597525"/>
          </a:xfrm>
          <a:prstGeom prst="rect">
            <a:avLst/>
          </a:prstGeom>
        </p:spPr>
        <p:txBody>
          <a:bodyPr anchor="ctr" anchorCtr="0">
            <a:noAutofit/>
          </a:bodyPr>
          <a:lstStyle>
            <a:lvl1pPr marL="457112" indent="-457112">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81598565"/>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9"/>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358" indent="0">
              <a:spcBef>
                <a:spcPts val="330"/>
              </a:spcBef>
              <a:buFontTx/>
              <a:buNone/>
              <a:defRPr sz="1800" baseline="0">
                <a:solidFill>
                  <a:schemeClr val="tx1"/>
                </a:solidFill>
                <a:latin typeface="Comic Sans MS" panose="030F0702030302020204" pitchFamily="66" charset="0"/>
              </a:defRPr>
            </a:lvl6pPr>
            <a:lvl7pPr marL="1051358" indent="0">
              <a:spcBef>
                <a:spcPts val="330"/>
              </a:spcBef>
              <a:buFontTx/>
              <a:buNone/>
              <a:defRPr sz="1800" baseline="0">
                <a:solidFill>
                  <a:schemeClr val="tx1"/>
                </a:solidFill>
                <a:latin typeface="Comic Sans MS" panose="030F0702030302020204" pitchFamily="66" charset="0"/>
              </a:defRPr>
            </a:lvl7pPr>
            <a:lvl8pPr marL="1051358" indent="0">
              <a:spcBef>
                <a:spcPts val="330"/>
              </a:spcBef>
              <a:buFontTx/>
              <a:buNone/>
              <a:defRPr sz="1800" baseline="0">
                <a:solidFill>
                  <a:schemeClr val="tx1"/>
                </a:solidFill>
                <a:latin typeface="Comic Sans MS" panose="030F0702030302020204" pitchFamily="66" charset="0"/>
              </a:defRPr>
            </a:lvl8pPr>
            <a:lvl9pPr marL="1051358"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994576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9"/>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358" indent="0">
              <a:spcBef>
                <a:spcPts val="330"/>
              </a:spcBef>
              <a:buFontTx/>
              <a:buNone/>
              <a:defRPr sz="1800" baseline="0">
                <a:solidFill>
                  <a:schemeClr val="tx1"/>
                </a:solidFill>
                <a:latin typeface="Comic Sans MS" panose="030F0702030302020204" pitchFamily="66" charset="0"/>
              </a:defRPr>
            </a:lvl6pPr>
            <a:lvl7pPr marL="1051358" indent="0">
              <a:spcBef>
                <a:spcPts val="330"/>
              </a:spcBef>
              <a:buFontTx/>
              <a:buNone/>
              <a:defRPr sz="1800" baseline="0">
                <a:solidFill>
                  <a:schemeClr val="tx1"/>
                </a:solidFill>
                <a:latin typeface="Comic Sans MS" panose="030F0702030302020204" pitchFamily="66" charset="0"/>
              </a:defRPr>
            </a:lvl7pPr>
            <a:lvl8pPr marL="1051358" indent="0">
              <a:spcBef>
                <a:spcPts val="330"/>
              </a:spcBef>
              <a:buFontTx/>
              <a:buNone/>
              <a:defRPr sz="1800" baseline="0">
                <a:solidFill>
                  <a:schemeClr val="tx1"/>
                </a:solidFill>
                <a:latin typeface="Comic Sans MS" panose="030F0702030302020204" pitchFamily="66" charset="0"/>
              </a:defRPr>
            </a:lvl8pPr>
            <a:lvl9pPr marL="1051358"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359062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634289"/>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2854185"/>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14" tIns="45706" rIns="91414" bIns="45706"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03805565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8624593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60011207"/>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9" y="1436689"/>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3931" indent="-164560">
              <a:spcBef>
                <a:spcPts val="330"/>
              </a:spcBef>
              <a:defRPr sz="1800" baseline="0"/>
            </a:lvl6pPr>
            <a:lvl7pPr marL="1023931" indent="-164560">
              <a:spcBef>
                <a:spcPts val="330"/>
              </a:spcBef>
              <a:defRPr sz="1800" baseline="0"/>
            </a:lvl7pPr>
            <a:lvl8pPr marL="1023931" indent="-164560">
              <a:spcBef>
                <a:spcPts val="330"/>
              </a:spcBef>
              <a:defRPr sz="1800" baseline="0"/>
            </a:lvl8pPr>
            <a:lvl9pPr marL="1023931" indent="-164560">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6728654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509A250-FF31-4206-8172-F9D3106AACB1}" type="datetimeFigureOut">
              <a:rPr lang="en-US"/>
              <a:t>4/20/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a:t>‹#›</a:t>
            </a:fld>
            <a:endParaRPr lang="en-US" dirty="0"/>
          </a:p>
        </p:txBody>
      </p:sp>
    </p:spTree>
    <p:extLst>
      <p:ext uri="{BB962C8B-B14F-4D97-AF65-F5344CB8AC3E}">
        <p14:creationId xmlns:p14="http://schemas.microsoft.com/office/powerpoint/2010/main" val="281855115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2"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7"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5"/>
            <a:ext cx="5555965" cy="2573509"/>
          </a:xfrm>
        </p:spPr>
        <p:txBody>
          <a:bodyPr wrap="square" lIns="0" tIns="0" rIns="0" bIns="0">
            <a:noAutofit/>
          </a:bodyPr>
          <a:lstStyle>
            <a:lvl1pPr marL="0" marR="0" indent="0" algn="l" defTabSz="914016"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11" marR="0" indent="0" algn="l" defTabSz="914016"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021" indent="0">
              <a:buNone/>
              <a:defRPr/>
            </a:lvl3pPr>
            <a:lvl4pPr marL="672032" indent="0">
              <a:buNone/>
              <a:defRPr/>
            </a:lvl4pPr>
            <a:lvl5pPr marL="896042"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5160476"/>
      </p:ext>
    </p:extLst>
  </p:cSld>
  <p:clrMapOvr>
    <a:masterClrMapping/>
  </p:clrMapOvr>
  <p:transition>
    <p:fade/>
  </p:transition>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33721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179537700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2864769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38900998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324848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33317661"/>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tags" Target="../tags/tag4.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9" Type="http://schemas.openxmlformats.org/officeDocument/2006/relationships/slideLayout" Target="../slideLayouts/slideLayout86.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42" Type="http://schemas.openxmlformats.org/officeDocument/2006/relationships/slideLayout" Target="../slideLayouts/slideLayout89.xml"/><Relationship Id="rId47" Type="http://schemas.openxmlformats.org/officeDocument/2006/relationships/slideLayout" Target="../slideLayouts/slideLayout94.xml"/><Relationship Id="rId50" Type="http://schemas.openxmlformats.org/officeDocument/2006/relationships/tags" Target="../tags/tag5.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9" Type="http://schemas.openxmlformats.org/officeDocument/2006/relationships/slideLayout" Target="../slideLayouts/slideLayout76.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40" Type="http://schemas.openxmlformats.org/officeDocument/2006/relationships/slideLayout" Target="../slideLayouts/slideLayout87.xml"/><Relationship Id="rId45" Type="http://schemas.openxmlformats.org/officeDocument/2006/relationships/slideLayout" Target="../slideLayouts/slideLayout92.xml"/><Relationship Id="rId53" Type="http://schemas.openxmlformats.org/officeDocument/2006/relationships/image" Target="../media/image1.emf"/><Relationship Id="rId5" Type="http://schemas.openxmlformats.org/officeDocument/2006/relationships/slideLayout" Target="../slideLayouts/slideLayout52.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4" Type="http://schemas.openxmlformats.org/officeDocument/2006/relationships/slideLayout" Target="../slideLayouts/slideLayout91.xml"/><Relationship Id="rId52" Type="http://schemas.openxmlformats.org/officeDocument/2006/relationships/tags" Target="../tags/tag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43" Type="http://schemas.openxmlformats.org/officeDocument/2006/relationships/slideLayout" Target="../slideLayouts/slideLayout90.xml"/><Relationship Id="rId48" Type="http://schemas.openxmlformats.org/officeDocument/2006/relationships/slideLayout" Target="../slideLayouts/slideLayout95.xml"/><Relationship Id="rId8" Type="http://schemas.openxmlformats.org/officeDocument/2006/relationships/slideLayout" Target="../slideLayouts/slideLayout55.xml"/><Relationship Id="rId51" Type="http://schemas.openxmlformats.org/officeDocument/2006/relationships/tags" Target="../tags/tag6.xml"/><Relationship Id="rId3" Type="http://schemas.openxmlformats.org/officeDocument/2006/relationships/slideLayout" Target="../slideLayouts/slideLayout50.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slideLayout" Target="../slideLayouts/slideLayout85.xml"/><Relationship Id="rId46" Type="http://schemas.openxmlformats.org/officeDocument/2006/relationships/slideLayout" Target="../slideLayouts/slideLayout93.xml"/><Relationship Id="rId20" Type="http://schemas.openxmlformats.org/officeDocument/2006/relationships/slideLayout" Target="../slideLayouts/slideLayout67.xml"/><Relationship Id="rId41" Type="http://schemas.openxmlformats.org/officeDocument/2006/relationships/slideLayout" Target="../slideLayouts/slideLayout88.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4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9" Type="http://schemas.openxmlformats.org/officeDocument/2006/relationships/slideLayout" Target="../slideLayouts/slideLayout134.xml"/><Relationship Id="rId21" Type="http://schemas.openxmlformats.org/officeDocument/2006/relationships/slideLayout" Target="../slideLayouts/slideLayout116.xml"/><Relationship Id="rId34" Type="http://schemas.openxmlformats.org/officeDocument/2006/relationships/slideLayout" Target="../slideLayouts/slideLayout129.xml"/><Relationship Id="rId42" Type="http://schemas.openxmlformats.org/officeDocument/2006/relationships/slideLayout" Target="../slideLayouts/slideLayout137.xml"/><Relationship Id="rId47" Type="http://schemas.openxmlformats.org/officeDocument/2006/relationships/slideLayout" Target="../slideLayouts/slideLayout142.xml"/><Relationship Id="rId50" Type="http://schemas.openxmlformats.org/officeDocument/2006/relationships/slideLayout" Target="../slideLayouts/slideLayout145.xml"/><Relationship Id="rId55" Type="http://schemas.openxmlformats.org/officeDocument/2006/relationships/image" Target="../media/image1.emf"/><Relationship Id="rId7" Type="http://schemas.openxmlformats.org/officeDocument/2006/relationships/slideLayout" Target="../slideLayouts/slideLayout10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9" Type="http://schemas.openxmlformats.org/officeDocument/2006/relationships/slideLayout" Target="../slideLayouts/slideLayout124.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32" Type="http://schemas.openxmlformats.org/officeDocument/2006/relationships/slideLayout" Target="../slideLayouts/slideLayout127.xml"/><Relationship Id="rId37" Type="http://schemas.openxmlformats.org/officeDocument/2006/relationships/slideLayout" Target="../slideLayouts/slideLayout132.xml"/><Relationship Id="rId40" Type="http://schemas.openxmlformats.org/officeDocument/2006/relationships/slideLayout" Target="../slideLayouts/slideLayout135.xml"/><Relationship Id="rId45" Type="http://schemas.openxmlformats.org/officeDocument/2006/relationships/slideLayout" Target="../slideLayouts/slideLayout140.xml"/><Relationship Id="rId53" Type="http://schemas.openxmlformats.org/officeDocument/2006/relationships/tags" Target="../tags/tag9.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31" Type="http://schemas.openxmlformats.org/officeDocument/2006/relationships/slideLayout" Target="../slideLayouts/slideLayout126.xml"/><Relationship Id="rId44" Type="http://schemas.openxmlformats.org/officeDocument/2006/relationships/slideLayout" Target="../slideLayouts/slideLayout139.xml"/><Relationship Id="rId52" Type="http://schemas.openxmlformats.org/officeDocument/2006/relationships/tags" Target="../tags/tag8.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slideLayout" Target="../slideLayouts/slideLayout125.xml"/><Relationship Id="rId35" Type="http://schemas.openxmlformats.org/officeDocument/2006/relationships/slideLayout" Target="../slideLayouts/slideLayout130.xml"/><Relationship Id="rId43" Type="http://schemas.openxmlformats.org/officeDocument/2006/relationships/slideLayout" Target="../slideLayouts/slideLayout138.xml"/><Relationship Id="rId48" Type="http://schemas.openxmlformats.org/officeDocument/2006/relationships/slideLayout" Target="../slideLayouts/slideLayout143.xml"/><Relationship Id="rId8" Type="http://schemas.openxmlformats.org/officeDocument/2006/relationships/slideLayout" Target="../slideLayouts/slideLayout103.xml"/><Relationship Id="rId51" Type="http://schemas.openxmlformats.org/officeDocument/2006/relationships/theme" Target="../theme/theme3.xml"/><Relationship Id="rId3" Type="http://schemas.openxmlformats.org/officeDocument/2006/relationships/slideLayout" Target="../slideLayouts/slideLayout98.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33" Type="http://schemas.openxmlformats.org/officeDocument/2006/relationships/slideLayout" Target="../slideLayouts/slideLayout128.xml"/><Relationship Id="rId38" Type="http://schemas.openxmlformats.org/officeDocument/2006/relationships/slideLayout" Target="../slideLayouts/slideLayout133.xml"/><Relationship Id="rId46" Type="http://schemas.openxmlformats.org/officeDocument/2006/relationships/slideLayout" Target="../slideLayouts/slideLayout141.xml"/><Relationship Id="rId20" Type="http://schemas.openxmlformats.org/officeDocument/2006/relationships/slideLayout" Target="../slideLayouts/slideLayout115.xml"/><Relationship Id="rId41" Type="http://schemas.openxmlformats.org/officeDocument/2006/relationships/slideLayout" Target="../slideLayouts/slideLayout136.xml"/><Relationship Id="rId54" Type="http://schemas.openxmlformats.org/officeDocument/2006/relationships/tags" Target="../tags/tag10.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36" Type="http://schemas.openxmlformats.org/officeDocument/2006/relationships/slideLayout" Target="../slideLayouts/slideLayout131.xml"/><Relationship Id="rId49" Type="http://schemas.openxmlformats.org/officeDocument/2006/relationships/slideLayout" Target="../slideLayouts/slideLayout1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2"/>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527149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 id="2147483730" r:id="rId31"/>
    <p:sldLayoutId id="2147483731" r:id="rId32"/>
    <p:sldLayoutId id="2147483732" r:id="rId33"/>
    <p:sldLayoutId id="2147483733" r:id="rId34"/>
    <p:sldLayoutId id="2147483734" r:id="rId35"/>
    <p:sldLayoutId id="2147483735" r:id="rId36"/>
    <p:sldLayoutId id="2147483736" r:id="rId37"/>
    <p:sldLayoutId id="2147483737" r:id="rId38"/>
    <p:sldLayoutId id="2147483738" r:id="rId39"/>
    <p:sldLayoutId id="2147483739" r:id="rId40"/>
    <p:sldLayoutId id="2147483740" r:id="rId41"/>
    <p:sldLayoutId id="2147483741" r:id="rId42"/>
    <p:sldLayoutId id="2147483742" r:id="rId43"/>
    <p:sldLayoutId id="2147483743" r:id="rId44"/>
    <p:sldLayoutId id="2147483793" r:id="rId45"/>
    <p:sldLayoutId id="2147483790" r:id="rId46"/>
    <p:sldLayoutId id="2147483792" r:id="rId47"/>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9"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9" y="1408114"/>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411411" y="2852918"/>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l" defTabSz="932293"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l" defTabSz="932293"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26" tIns="155426" rIns="155426" bIns="155426"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51832901"/>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 id="2147483819" r:id="rId25"/>
    <p:sldLayoutId id="2147483820" r:id="rId26"/>
    <p:sldLayoutId id="2147483821" r:id="rId27"/>
    <p:sldLayoutId id="2147483822" r:id="rId28"/>
    <p:sldLayoutId id="2147483823" r:id="rId29"/>
    <p:sldLayoutId id="2147483824" r:id="rId30"/>
    <p:sldLayoutId id="2147483825" r:id="rId31"/>
    <p:sldLayoutId id="2147483826" r:id="rId32"/>
    <p:sldLayoutId id="2147483827" r:id="rId33"/>
    <p:sldLayoutId id="2147483828" r:id="rId34"/>
    <p:sldLayoutId id="2147483829" r:id="rId35"/>
    <p:sldLayoutId id="2147483830" r:id="rId36"/>
    <p:sldLayoutId id="2147483831" r:id="rId37"/>
    <p:sldLayoutId id="2147483832" r:id="rId38"/>
    <p:sldLayoutId id="2147483833" r:id="rId39"/>
    <p:sldLayoutId id="2147483834" r:id="rId40"/>
    <p:sldLayoutId id="2147483835" r:id="rId41"/>
    <p:sldLayoutId id="2147483836" r:id="rId42"/>
    <p:sldLayoutId id="2147483837" r:id="rId43"/>
    <p:sldLayoutId id="2147483838" r:id="rId44"/>
    <p:sldLayoutId id="2147483839" r:id="rId45"/>
    <p:sldLayoutId id="2147483840" r:id="rId46"/>
    <p:sldLayoutId id="2147483841" r:id="rId47"/>
    <p:sldLayoutId id="2147483842" r:id="rId48"/>
  </p:sldLayoutIdLst>
  <p:txStyles>
    <p:titleStyle>
      <a:lvl1pPr algn="l" defTabSz="932563" rtl="0" eaLnBrk="1" latinLnBrk="0" hangingPunct="1">
        <a:lnSpc>
          <a:spcPts val="3619"/>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36" indent="-310836" algn="l" defTabSz="93250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673" indent="-310836" algn="l" defTabSz="93250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508" indent="-310836" algn="l" defTabSz="93250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345" indent="-310836" algn="l" defTabSz="93250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181" indent="-329121" algn="l" defTabSz="93250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36" indent="-310836" algn="l" defTabSz="93250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673" indent="-310836" algn="l" defTabSz="93250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50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50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5"/>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9099302"/>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 id="2147483863" r:id="rId20"/>
    <p:sldLayoutId id="2147483864" r:id="rId21"/>
    <p:sldLayoutId id="2147483865" r:id="rId22"/>
    <p:sldLayoutId id="2147483866" r:id="rId23"/>
    <p:sldLayoutId id="2147483867" r:id="rId24"/>
    <p:sldLayoutId id="2147483868" r:id="rId25"/>
    <p:sldLayoutId id="2147483869" r:id="rId26"/>
    <p:sldLayoutId id="2147483870" r:id="rId27"/>
    <p:sldLayoutId id="2147483871" r:id="rId28"/>
    <p:sldLayoutId id="2147483872" r:id="rId29"/>
    <p:sldLayoutId id="2147483873" r:id="rId30"/>
    <p:sldLayoutId id="2147483874" r:id="rId31"/>
    <p:sldLayoutId id="2147483875" r:id="rId32"/>
    <p:sldLayoutId id="2147483876" r:id="rId33"/>
    <p:sldLayoutId id="2147483877" r:id="rId34"/>
    <p:sldLayoutId id="2147483878" r:id="rId35"/>
    <p:sldLayoutId id="2147483879" r:id="rId36"/>
    <p:sldLayoutId id="2147483880" r:id="rId37"/>
    <p:sldLayoutId id="2147483881" r:id="rId38"/>
    <p:sldLayoutId id="2147483882" r:id="rId39"/>
    <p:sldLayoutId id="2147483883" r:id="rId40"/>
    <p:sldLayoutId id="2147483884" r:id="rId41"/>
    <p:sldLayoutId id="2147483885" r:id="rId42"/>
    <p:sldLayoutId id="2147483886" r:id="rId43"/>
    <p:sldLayoutId id="2147483887" r:id="rId44"/>
    <p:sldLayoutId id="2147483888" r:id="rId45"/>
    <p:sldLayoutId id="2147483889" r:id="rId46"/>
    <p:sldLayoutId id="2147483890" r:id="rId47"/>
    <p:sldLayoutId id="2147483891" r:id="rId48"/>
    <p:sldLayoutId id="2147483892" r:id="rId49"/>
    <p:sldLayoutId id="2147483893" r:id="rId50"/>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2.xml"/><Relationship Id="rId7" Type="http://schemas.microsoft.com/office/2007/relationships/hdphoto" Target="../media/hdphoto1.wdp"/><Relationship Id="rId2" Type="http://schemas.openxmlformats.org/officeDocument/2006/relationships/customXml" Target="../../customXml/item19.xml"/><Relationship Id="rId1" Type="http://schemas.openxmlformats.org/officeDocument/2006/relationships/tags" Target="../tags/tag11.xml"/><Relationship Id="rId6" Type="http://schemas.openxmlformats.org/officeDocument/2006/relationships/image" Target="../media/image5.png"/><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customXml" Target="../../customXml/item9.xml"/><Relationship Id="rId7" Type="http://schemas.openxmlformats.org/officeDocument/2006/relationships/notesSlide" Target="../notesSlides/notesSlide14.xml"/><Relationship Id="rId2" Type="http://schemas.openxmlformats.org/officeDocument/2006/relationships/customXml" Target="../../customXml/item4.xml"/><Relationship Id="rId1" Type="http://schemas.openxmlformats.org/officeDocument/2006/relationships/tags" Target="../tags/tag14.xml"/><Relationship Id="rId6" Type="http://schemas.openxmlformats.org/officeDocument/2006/relationships/slideLayout" Target="../slideLayouts/slideLayout56.xml"/><Relationship Id="rId5" Type="http://schemas.openxmlformats.org/officeDocument/2006/relationships/customXml" Target="../../customXml/item8.xml"/><Relationship Id="rId4" Type="http://schemas.openxmlformats.org/officeDocument/2006/relationships/customXml" Target="../../customXml/item6.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7.xml"/><Relationship Id="rId1" Type="http://schemas.openxmlformats.org/officeDocument/2006/relationships/slideLayout" Target="../slideLayouts/slideLayout10.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27.xml.rels><?xml version="1.0" encoding="UTF-8" standalone="yes"?>
<Relationships xmlns="http://schemas.openxmlformats.org/package/2006/relationships"><Relationship Id="rId8" Type="http://schemas.openxmlformats.org/officeDocument/2006/relationships/diagramData" Target="../diagrams/data20.xml"/><Relationship Id="rId13" Type="http://schemas.openxmlformats.org/officeDocument/2006/relationships/diagramData" Target="../diagrams/data21.xml"/><Relationship Id="rId18" Type="http://schemas.openxmlformats.org/officeDocument/2006/relationships/diagramData" Target="../diagrams/data22.xml"/><Relationship Id="rId26" Type="http://schemas.openxmlformats.org/officeDocument/2006/relationships/diagramColors" Target="../diagrams/colors23.xml"/><Relationship Id="rId3" Type="http://schemas.openxmlformats.org/officeDocument/2006/relationships/diagramData" Target="../diagrams/data19.xml"/><Relationship Id="rId21" Type="http://schemas.openxmlformats.org/officeDocument/2006/relationships/diagramColors" Target="../diagrams/colors22.xml"/><Relationship Id="rId7" Type="http://schemas.microsoft.com/office/2007/relationships/diagramDrawing" Target="../diagrams/drawing19.xml"/><Relationship Id="rId12" Type="http://schemas.microsoft.com/office/2007/relationships/diagramDrawing" Target="../diagrams/drawing20.xml"/><Relationship Id="rId17" Type="http://schemas.microsoft.com/office/2007/relationships/diagramDrawing" Target="../diagrams/drawing21.xml"/><Relationship Id="rId25" Type="http://schemas.openxmlformats.org/officeDocument/2006/relationships/diagramQuickStyle" Target="../diagrams/quickStyle23.xml"/><Relationship Id="rId2" Type="http://schemas.openxmlformats.org/officeDocument/2006/relationships/notesSlide" Target="../notesSlides/notesSlide25.xml"/><Relationship Id="rId16" Type="http://schemas.openxmlformats.org/officeDocument/2006/relationships/diagramColors" Target="../diagrams/colors21.xml"/><Relationship Id="rId20" Type="http://schemas.openxmlformats.org/officeDocument/2006/relationships/diagramQuickStyle" Target="../diagrams/quickStyle22.xml"/><Relationship Id="rId1" Type="http://schemas.openxmlformats.org/officeDocument/2006/relationships/slideLayout" Target="../slideLayouts/slideLayout55.xml"/><Relationship Id="rId6" Type="http://schemas.openxmlformats.org/officeDocument/2006/relationships/diagramColors" Target="../diagrams/colors19.xml"/><Relationship Id="rId11" Type="http://schemas.openxmlformats.org/officeDocument/2006/relationships/diagramColors" Target="../diagrams/colors20.xml"/><Relationship Id="rId24" Type="http://schemas.openxmlformats.org/officeDocument/2006/relationships/diagramLayout" Target="../diagrams/layout23.xml"/><Relationship Id="rId5" Type="http://schemas.openxmlformats.org/officeDocument/2006/relationships/diagramQuickStyle" Target="../diagrams/quickStyle19.xml"/><Relationship Id="rId15" Type="http://schemas.openxmlformats.org/officeDocument/2006/relationships/diagramQuickStyle" Target="../diagrams/quickStyle21.xml"/><Relationship Id="rId23" Type="http://schemas.openxmlformats.org/officeDocument/2006/relationships/diagramData" Target="../diagrams/data23.xml"/><Relationship Id="rId10" Type="http://schemas.openxmlformats.org/officeDocument/2006/relationships/diagramQuickStyle" Target="../diagrams/quickStyle20.xml"/><Relationship Id="rId19" Type="http://schemas.openxmlformats.org/officeDocument/2006/relationships/diagramLayout" Target="../diagrams/layout22.xml"/><Relationship Id="rId4" Type="http://schemas.openxmlformats.org/officeDocument/2006/relationships/diagramLayout" Target="../diagrams/layout19.xml"/><Relationship Id="rId9" Type="http://schemas.openxmlformats.org/officeDocument/2006/relationships/diagramLayout" Target="../diagrams/layout20.xml"/><Relationship Id="rId14" Type="http://schemas.openxmlformats.org/officeDocument/2006/relationships/diagramLayout" Target="../diagrams/layout21.xml"/><Relationship Id="rId22" Type="http://schemas.microsoft.com/office/2007/relationships/diagramDrawing" Target="../diagrams/drawing22.xml"/><Relationship Id="rId27" Type="http://schemas.microsoft.com/office/2007/relationships/diagramDrawing" Target="../diagrams/drawing2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customXml" Target="../../customXml/item13.xml"/><Relationship Id="rId7" Type="http://schemas.openxmlformats.org/officeDocument/2006/relationships/notesSlide" Target="../notesSlides/notesSlide4.xml"/><Relationship Id="rId2" Type="http://schemas.openxmlformats.org/officeDocument/2006/relationships/customXml" Target="../../customXml/item12.xml"/><Relationship Id="rId1" Type="http://schemas.openxmlformats.org/officeDocument/2006/relationships/tags" Target="../tags/tag13.xml"/><Relationship Id="rId6" Type="http://schemas.openxmlformats.org/officeDocument/2006/relationships/slideLayout" Target="../slideLayouts/slideLayout56.xml"/><Relationship Id="rId5" Type="http://schemas.openxmlformats.org/officeDocument/2006/relationships/customXml" Target="../../customXml/item11.xml"/><Relationship Id="rId4" Type="http://schemas.openxmlformats.org/officeDocument/2006/relationships/customXml" Target="../../customXml/item5.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svg"/><Relationship Id="rId2" Type="http://schemas.openxmlformats.org/officeDocument/2006/relationships/notesSlide" Target="../notesSlides/notesSlide5.xml"/><Relationship Id="rId1" Type="http://schemas.openxmlformats.org/officeDocument/2006/relationships/slideLayout" Target="../slideLayouts/slideLayout14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27.pn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ctrTitle"/>
            <p:custDataLst>
              <p:custData r:id="rId2"/>
            </p:custDataLst>
          </p:nvPr>
        </p:nvSpPr>
        <p:spPr/>
        <p:txBody>
          <a:bodyPr/>
          <a:lstStyle/>
          <a:p>
            <a:r>
              <a:rPr lang="en-US" dirty="0"/>
              <a:t>Optimize Azure Synapse SQL Pools</a:t>
            </a:r>
          </a:p>
        </p:txBody>
      </p:sp>
      <p:pic>
        <p:nvPicPr>
          <p:cNvPr id="148" name="Ofc17_Amelia_006" descr="Young, small business female with journal in modern workplace. ">
            <a:extLst>
              <a:ext uri="{FF2B5EF4-FFF2-40B4-BE49-F238E27FC236}">
                <a16:creationId xmlns:a16="http://schemas.microsoft.com/office/drawing/2014/main" id="{73B1218B-F53A-4144-81D3-6E72572D50BE}"/>
              </a:ext>
            </a:extLst>
          </p:cNvPr>
          <p:cNvPicPr>
            <a:picLocks noGrp="1" noChangeAspect="1"/>
          </p:cNvPicPr>
          <p:nvPr>
            <p:ph type="pic" sz="quarter" idx="17"/>
            <p:custDataLst>
              <p:tags r:id="rId3"/>
            </p:custDataLst>
          </p:nvPr>
        </p:nvPicPr>
        <p:blipFill rotWithShape="1">
          <a:blip r:embed="rId6" cstate="screen">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p:pic>
      <p:graphicFrame>
        <p:nvGraphicFramePr>
          <p:cNvPr id="132" name="Table 132" descr="learn how to code">
            <a:extLst>
              <a:ext uri="{FF2B5EF4-FFF2-40B4-BE49-F238E27FC236}">
                <a16:creationId xmlns:a16="http://schemas.microsoft.com/office/drawing/2014/main" id="{602854A3-B709-4893-A7A7-ECA5177FAE28}"/>
              </a:ext>
              <a:ext uri="{C183D7F6-B498-43B3-948B-1728B52AA6E4}">
                <adec:decorative xmlns:adec="http://schemas.microsoft.com/office/drawing/2017/decorative" val="0"/>
              </a:ext>
            </a:extLst>
          </p:cNvPr>
          <p:cNvGraphicFramePr>
            <a:graphicFrameLocks noGrp="1"/>
          </p:cNvGraphicFramePr>
          <p:nvPr/>
        </p:nvGraphicFramePr>
        <p:xfrm>
          <a:off x="6852496" y="2119781"/>
          <a:ext cx="3819617" cy="2928408"/>
        </p:xfrm>
        <a:graphic>
          <a:graphicData uri="http://schemas.openxmlformats.org/drawingml/2006/table">
            <a:tbl>
              <a:tblPr firstRow="1" bandRow="1">
                <a:tableStyleId>{2D5ABB26-0587-4C30-8999-92F81FD0307C}</a:tableStyleId>
              </a:tblPr>
              <a:tblGrid>
                <a:gridCol w="1095130">
                  <a:extLst>
                    <a:ext uri="{9D8B030D-6E8A-4147-A177-3AD203B41FA5}">
                      <a16:colId xmlns:a16="http://schemas.microsoft.com/office/drawing/2014/main" val="3725280439"/>
                    </a:ext>
                  </a:extLst>
                </a:gridCol>
                <a:gridCol w="1423622">
                  <a:extLst>
                    <a:ext uri="{9D8B030D-6E8A-4147-A177-3AD203B41FA5}">
                      <a16:colId xmlns:a16="http://schemas.microsoft.com/office/drawing/2014/main" val="3776563889"/>
                    </a:ext>
                  </a:extLst>
                </a:gridCol>
                <a:gridCol w="1300865">
                  <a:extLst>
                    <a:ext uri="{9D8B030D-6E8A-4147-A177-3AD203B41FA5}">
                      <a16:colId xmlns:a16="http://schemas.microsoft.com/office/drawing/2014/main" val="3832914547"/>
                    </a:ext>
                  </a:extLst>
                </a:gridCol>
              </a:tblGrid>
              <a:tr h="770204">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0">
                          <a:solidFill>
                            <a:schemeClr val="lt2"/>
                          </a:solidFill>
                          <a:latin typeface="NSimSun" panose="02010609030101010101" pitchFamily="49" charset="-122"/>
                          <a:ea typeface="NSimSun" panose="02010609030101010101" pitchFamily="49" charset="-122"/>
                        </a:rPr>
                        <a:t>{</a:t>
                      </a:r>
                    </a:p>
                  </a:txBody>
                  <a:tcPr marL="0" marR="0" marT="0" marB="0"/>
                </a:tc>
                <a:tc>
                  <a:txBody>
                    <a:bodyPr/>
                    <a:lstStyle/>
                    <a:p>
                      <a:pPr algn="l"/>
                      <a:endParaRPr lang="en-US" sz="1900">
                        <a:solidFill>
                          <a:schemeClr val="lt2"/>
                        </a:solidFill>
                        <a:latin typeface="Lucida Console" panose="020B0609040504020204" pitchFamily="49" charset="0"/>
                      </a:endParaRPr>
                    </a:p>
                  </a:txBody>
                  <a:tcPr marL="0" marR="0" marT="0" marB="0" anchor="b"/>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0">
                          <a:solidFill>
                            <a:schemeClr val="lt2"/>
                          </a:solidFill>
                          <a:latin typeface="NSimSun" panose="02010609030101010101" pitchFamily="49" charset="-122"/>
                          <a:ea typeface="NSimSun" panose="02010609030101010101" pitchFamily="49" charset="-122"/>
                        </a:rPr>
                        <a:t>}</a:t>
                      </a:r>
                    </a:p>
                  </a:txBody>
                  <a:tcPr marL="0" marR="0" marT="0" marB="0"/>
                </a:tc>
                <a:extLst>
                  <a:ext uri="{0D108BD9-81ED-4DB2-BD59-A6C34878D82A}">
                    <a16:rowId xmlns:a16="http://schemas.microsoft.com/office/drawing/2014/main" val="2957166933"/>
                  </a:ext>
                </a:extLst>
              </a:tr>
              <a:tr h="1434280">
                <a:tc vMerge="1">
                  <a:txBody>
                    <a:bodyPr/>
                    <a:lstStyle/>
                    <a:p>
                      <a:endParaRPr lang="en-US"/>
                    </a:p>
                  </a:txBody>
                  <a:tcPr/>
                </a:tc>
                <a:tc>
                  <a:txBody>
                    <a:bodyPr/>
                    <a:lstStyle/>
                    <a:p>
                      <a:pPr algn="ctr"/>
                      <a:r>
                        <a:rPr lang="en-US" sz="2400">
                          <a:solidFill>
                            <a:schemeClr val="lt2"/>
                          </a:solidFill>
                          <a:latin typeface="Lucida Console" panose="020B0609040504020204" pitchFamily="49" charset="0"/>
                        </a:rPr>
                        <a:t>Azure Synapse SQL Pools</a:t>
                      </a:r>
                    </a:p>
                  </a:txBody>
                  <a:tcPr marL="0" marR="0" marT="0" marB="0" anchor="ctr" anchorCtr="1"/>
                </a:tc>
                <a:tc vMerge="1">
                  <a:txBody>
                    <a:bodyPr/>
                    <a:lstStyle/>
                    <a:p>
                      <a:endParaRPr lang="en-US"/>
                    </a:p>
                  </a:txBody>
                  <a:tcPr/>
                </a:tc>
                <a:extLst>
                  <a:ext uri="{0D108BD9-81ED-4DB2-BD59-A6C34878D82A}">
                    <a16:rowId xmlns:a16="http://schemas.microsoft.com/office/drawing/2014/main" val="4039752142"/>
                  </a:ext>
                </a:extLst>
              </a:tr>
              <a:tr h="695164">
                <a:tc vMerge="1">
                  <a:txBody>
                    <a:bodyPr/>
                    <a:lstStyle/>
                    <a:p>
                      <a:endParaRPr 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sz="1900">
                        <a:solidFill>
                          <a:schemeClr val="lt2"/>
                        </a:solidFill>
                        <a:latin typeface="Lucida Console" panose="020B0609040504020204" pitchFamily="49" charset="0"/>
                      </a:endParaRPr>
                    </a:p>
                  </a:txBody>
                  <a:tcPr marL="0" marR="0" marT="0" marB="0"/>
                </a:tc>
                <a:tc vMerge="1">
                  <a:txBody>
                    <a:bodyPr/>
                    <a:lstStyle/>
                    <a:p>
                      <a:endParaRPr lang="en-US"/>
                    </a:p>
                  </a:txBody>
                  <a:tcPr/>
                </a:tc>
                <a:extLst>
                  <a:ext uri="{0D108BD9-81ED-4DB2-BD59-A6C34878D82A}">
                    <a16:rowId xmlns:a16="http://schemas.microsoft.com/office/drawing/2014/main" val="98409283"/>
                  </a:ext>
                </a:extLst>
              </a:tr>
            </a:tbl>
          </a:graphicData>
        </a:graphic>
      </p:graphicFrame>
      <p:sp>
        <p:nvSpPr>
          <p:cNvPr id="7" name="Rectangle 6">
            <a:extLst>
              <a:ext uri="{FF2B5EF4-FFF2-40B4-BE49-F238E27FC236}">
                <a16:creationId xmlns:a16="http://schemas.microsoft.com/office/drawing/2014/main" id="{D3EAAD9A-76BF-48B0-A6BF-A24D0A8C5A8F}"/>
              </a:ext>
              <a:ext uri="{C183D7F6-B498-43B3-948B-1728B52AA6E4}">
                <adec:decorative xmlns:adec="http://schemas.microsoft.com/office/drawing/2017/decorative" val="1"/>
              </a:ext>
            </a:extLst>
          </p:cNvPr>
          <p:cNvSpPr/>
          <p:nvPr/>
        </p:nvSpPr>
        <p:spPr bwMode="auto">
          <a:xfrm>
            <a:off x="5348979" y="836"/>
            <a:ext cx="6857026" cy="6860202"/>
          </a:xfrm>
          <a:prstGeom prst="rect">
            <a:avLst/>
          </a:pr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26" tIns="155426" rIns="155426" bIns="155426"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094951178"/>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ELT – Extract, Load and Transform</a:t>
            </a:r>
          </a:p>
        </p:txBody>
      </p:sp>
      <p:graphicFrame>
        <p:nvGraphicFramePr>
          <p:cNvPr id="8" name="Content Placeholder 7">
            <a:extLst>
              <a:ext uri="{FF2B5EF4-FFF2-40B4-BE49-F238E27FC236}">
                <a16:creationId xmlns:a16="http://schemas.microsoft.com/office/drawing/2014/main" id="{F2F3C940-AD7F-4BDC-B54E-5C35FE27C4CC}"/>
              </a:ext>
            </a:extLst>
          </p:cNvPr>
          <p:cNvGraphicFramePr>
            <a:graphicFrameLocks noGrp="1"/>
          </p:cNvGraphicFramePr>
          <p:nvPr>
            <p:ph sz="quarter" idx="13"/>
            <p:extLst>
              <p:ext uri="{D42A27DB-BD31-4B8C-83A1-F6EECF244321}">
                <p14:modId xmlns:p14="http://schemas.microsoft.com/office/powerpoint/2010/main" val="1845916141"/>
              </p:ext>
            </p:extLst>
          </p:nvPr>
        </p:nvGraphicFramePr>
        <p:xfrm>
          <a:off x="655638" y="2310734"/>
          <a:ext cx="10880725" cy="2187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269514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ELT – Extract, Load and Transform</a:t>
            </a:r>
          </a:p>
        </p:txBody>
      </p:sp>
      <p:graphicFrame>
        <p:nvGraphicFramePr>
          <p:cNvPr id="8" name="Content Placeholder 7">
            <a:extLst>
              <a:ext uri="{FF2B5EF4-FFF2-40B4-BE49-F238E27FC236}">
                <a16:creationId xmlns:a16="http://schemas.microsoft.com/office/drawing/2014/main" id="{F2F3C940-AD7F-4BDC-B54E-5C35FE27C4CC}"/>
              </a:ext>
            </a:extLst>
          </p:cNvPr>
          <p:cNvGraphicFramePr>
            <a:graphicFrameLocks noGrp="1"/>
          </p:cNvGraphicFramePr>
          <p:nvPr>
            <p:ph sz="quarter" idx="13"/>
            <p:extLst>
              <p:ext uri="{D42A27DB-BD31-4B8C-83A1-F6EECF244321}">
                <p14:modId xmlns:p14="http://schemas.microsoft.com/office/powerpoint/2010/main" val="2788793092"/>
              </p:ext>
            </p:extLst>
          </p:nvPr>
        </p:nvGraphicFramePr>
        <p:xfrm>
          <a:off x="655638" y="2224237"/>
          <a:ext cx="10880725" cy="24095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061680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ELT – Extract, Load and Transform</a:t>
            </a:r>
          </a:p>
        </p:txBody>
      </p:sp>
      <p:graphicFrame>
        <p:nvGraphicFramePr>
          <p:cNvPr id="8" name="Content Placeholder 7">
            <a:extLst>
              <a:ext uri="{FF2B5EF4-FFF2-40B4-BE49-F238E27FC236}">
                <a16:creationId xmlns:a16="http://schemas.microsoft.com/office/drawing/2014/main" id="{F2F3C940-AD7F-4BDC-B54E-5C35FE27C4CC}"/>
              </a:ext>
            </a:extLst>
          </p:cNvPr>
          <p:cNvGraphicFramePr>
            <a:graphicFrameLocks noGrp="1"/>
          </p:cNvGraphicFramePr>
          <p:nvPr>
            <p:ph sz="quarter" idx="13"/>
            <p:extLst>
              <p:ext uri="{D42A27DB-BD31-4B8C-83A1-F6EECF244321}">
                <p14:modId xmlns:p14="http://schemas.microsoft.com/office/powerpoint/2010/main" val="3228588897"/>
              </p:ext>
            </p:extLst>
          </p:nvPr>
        </p:nvGraphicFramePr>
        <p:xfrm>
          <a:off x="655637" y="2193345"/>
          <a:ext cx="10880725" cy="24713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872802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ELT – Extract, Load and Transform</a:t>
            </a:r>
          </a:p>
        </p:txBody>
      </p:sp>
      <p:graphicFrame>
        <p:nvGraphicFramePr>
          <p:cNvPr id="8" name="Content Placeholder 7">
            <a:extLst>
              <a:ext uri="{FF2B5EF4-FFF2-40B4-BE49-F238E27FC236}">
                <a16:creationId xmlns:a16="http://schemas.microsoft.com/office/drawing/2014/main" id="{F2F3C940-AD7F-4BDC-B54E-5C35FE27C4CC}"/>
              </a:ext>
            </a:extLst>
          </p:cNvPr>
          <p:cNvGraphicFramePr>
            <a:graphicFrameLocks noGrp="1"/>
          </p:cNvGraphicFramePr>
          <p:nvPr>
            <p:ph sz="quarter" idx="13"/>
            <p:extLst>
              <p:ext uri="{D42A27DB-BD31-4B8C-83A1-F6EECF244321}">
                <p14:modId xmlns:p14="http://schemas.microsoft.com/office/powerpoint/2010/main" val="281805774"/>
              </p:ext>
            </p:extLst>
          </p:nvPr>
        </p:nvGraphicFramePr>
        <p:xfrm>
          <a:off x="655638" y="2174511"/>
          <a:ext cx="10880725" cy="25089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776704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ELT – Extract, Load and Transform</a:t>
            </a:r>
          </a:p>
        </p:txBody>
      </p:sp>
      <p:graphicFrame>
        <p:nvGraphicFramePr>
          <p:cNvPr id="8" name="Content Placeholder 7">
            <a:extLst>
              <a:ext uri="{FF2B5EF4-FFF2-40B4-BE49-F238E27FC236}">
                <a16:creationId xmlns:a16="http://schemas.microsoft.com/office/drawing/2014/main" id="{F2F3C940-AD7F-4BDC-B54E-5C35FE27C4CC}"/>
              </a:ext>
            </a:extLst>
          </p:cNvPr>
          <p:cNvGraphicFramePr>
            <a:graphicFrameLocks noGrp="1"/>
          </p:cNvGraphicFramePr>
          <p:nvPr>
            <p:ph sz="quarter" idx="13"/>
            <p:extLst>
              <p:ext uri="{D42A27DB-BD31-4B8C-83A1-F6EECF244321}">
                <p14:modId xmlns:p14="http://schemas.microsoft.com/office/powerpoint/2010/main" val="594144644"/>
              </p:ext>
            </p:extLst>
          </p:nvPr>
        </p:nvGraphicFramePr>
        <p:xfrm>
          <a:off x="655638" y="2606997"/>
          <a:ext cx="10880725" cy="1644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620790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2: Best Loading Practices</a:t>
            </a:r>
          </a:p>
        </p:txBody>
      </p:sp>
    </p:spTree>
    <p:extLst>
      <p:ext uri="{BB962C8B-B14F-4D97-AF65-F5344CB8AC3E}">
        <p14:creationId xmlns:p14="http://schemas.microsoft.com/office/powerpoint/2010/main" val="18149136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56410" y="1408400"/>
            <a:ext cx="10879183" cy="1840151"/>
          </a:xfrm>
        </p:spPr>
        <p:txBody>
          <a:bodyPr>
            <a:normAutofit/>
          </a:bodyPr>
          <a:lstStyle/>
          <a:p>
            <a:r>
              <a:rPr lang="en-US" dirty="0"/>
              <a:t>Understand the following topics:</a:t>
            </a:r>
          </a:p>
          <a:p>
            <a:pPr lvl="1"/>
            <a:r>
              <a:rPr lang="en-US" dirty="0"/>
              <a:t>Best practices related to data loading</a:t>
            </a:r>
          </a:p>
          <a:p>
            <a:pPr lvl="1"/>
            <a:endParaRPr lang="en-US" dirty="0"/>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745145" y="3679790"/>
            <a:ext cx="1828541" cy="2371389"/>
          </a:xfrm>
          <a:prstGeom prst="rect">
            <a:avLst/>
          </a:prstGeom>
        </p:spPr>
      </p:pic>
    </p:spTree>
    <p:custDataLst>
      <p:tags r:id="rId1"/>
    </p:custDataLst>
    <p:extLst>
      <p:ext uri="{BB962C8B-B14F-4D97-AF65-F5344CB8AC3E}">
        <p14:creationId xmlns:p14="http://schemas.microsoft.com/office/powerpoint/2010/main" val="4080053700"/>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Best Practices</a:t>
            </a:r>
          </a:p>
        </p:txBody>
      </p:sp>
      <p:graphicFrame>
        <p:nvGraphicFramePr>
          <p:cNvPr id="5" name="Content Placeholder 4">
            <a:extLst>
              <a:ext uri="{FF2B5EF4-FFF2-40B4-BE49-F238E27FC236}">
                <a16:creationId xmlns:a16="http://schemas.microsoft.com/office/drawing/2014/main" id="{0690BB69-E359-4ACB-B0D7-C36798607629}"/>
              </a:ext>
            </a:extLst>
          </p:cNvPr>
          <p:cNvGraphicFramePr>
            <a:graphicFrameLocks noGrp="1"/>
          </p:cNvGraphicFramePr>
          <p:nvPr>
            <p:ph sz="quarter" idx="13"/>
            <p:extLst>
              <p:ext uri="{D42A27DB-BD31-4B8C-83A1-F6EECF244321}">
                <p14:modId xmlns:p14="http://schemas.microsoft.com/office/powerpoint/2010/main" val="2777458542"/>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585327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Best Practices – Preparing Data</a:t>
            </a:r>
          </a:p>
        </p:txBody>
      </p:sp>
      <p:graphicFrame>
        <p:nvGraphicFramePr>
          <p:cNvPr id="5" name="Content Placeholder 4">
            <a:extLst>
              <a:ext uri="{FF2B5EF4-FFF2-40B4-BE49-F238E27FC236}">
                <a16:creationId xmlns:a16="http://schemas.microsoft.com/office/drawing/2014/main" id="{0690BB69-E359-4ACB-B0D7-C36798607629}"/>
              </a:ext>
            </a:extLst>
          </p:cNvPr>
          <p:cNvGraphicFramePr>
            <a:graphicFrameLocks noGrp="1"/>
          </p:cNvGraphicFramePr>
          <p:nvPr>
            <p:ph sz="quarter" idx="13"/>
            <p:extLst>
              <p:ext uri="{D42A27DB-BD31-4B8C-83A1-F6EECF244321}">
                <p14:modId xmlns:p14="http://schemas.microsoft.com/office/powerpoint/2010/main" val="158240052"/>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025361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Best Practices – Choosing Enough Compute </a:t>
            </a:r>
          </a:p>
        </p:txBody>
      </p:sp>
      <p:graphicFrame>
        <p:nvGraphicFramePr>
          <p:cNvPr id="5" name="Content Placeholder 4">
            <a:extLst>
              <a:ext uri="{FF2B5EF4-FFF2-40B4-BE49-F238E27FC236}">
                <a16:creationId xmlns:a16="http://schemas.microsoft.com/office/drawing/2014/main" id="{0690BB69-E359-4ACB-B0D7-C36798607629}"/>
              </a:ext>
            </a:extLst>
          </p:cNvPr>
          <p:cNvGraphicFramePr>
            <a:graphicFrameLocks noGrp="1"/>
          </p:cNvGraphicFramePr>
          <p:nvPr>
            <p:ph sz="quarter" idx="13"/>
            <p:extLst>
              <p:ext uri="{D42A27DB-BD31-4B8C-83A1-F6EECF244321}">
                <p14:modId xmlns:p14="http://schemas.microsoft.com/office/powerpoint/2010/main" val="522651536"/>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889299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Optimize Data Loading</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a:t>Module 5</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spTree>
    <p:extLst>
      <p:ext uri="{BB962C8B-B14F-4D97-AF65-F5344CB8AC3E}">
        <p14:creationId xmlns:p14="http://schemas.microsoft.com/office/powerpoint/2010/main" val="519991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Best Practices – PolyBase Multi-User</a:t>
            </a:r>
          </a:p>
        </p:txBody>
      </p:sp>
      <p:graphicFrame>
        <p:nvGraphicFramePr>
          <p:cNvPr id="5" name="Content Placeholder 4">
            <a:extLst>
              <a:ext uri="{FF2B5EF4-FFF2-40B4-BE49-F238E27FC236}">
                <a16:creationId xmlns:a16="http://schemas.microsoft.com/office/drawing/2014/main" id="{0690BB69-E359-4ACB-B0D7-C36798607629}"/>
              </a:ext>
            </a:extLst>
          </p:cNvPr>
          <p:cNvGraphicFramePr>
            <a:graphicFrameLocks noGrp="1"/>
          </p:cNvGraphicFramePr>
          <p:nvPr>
            <p:ph sz="quarter" idx="13"/>
            <p:extLst>
              <p:ext uri="{D42A27DB-BD31-4B8C-83A1-F6EECF244321}">
                <p14:modId xmlns:p14="http://schemas.microsoft.com/office/powerpoint/2010/main" val="3176365479"/>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902144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ELT – Extract, Load and Transform</a:t>
            </a:r>
          </a:p>
        </p:txBody>
      </p:sp>
      <p:graphicFrame>
        <p:nvGraphicFramePr>
          <p:cNvPr id="8" name="Content Placeholder 7">
            <a:extLst>
              <a:ext uri="{FF2B5EF4-FFF2-40B4-BE49-F238E27FC236}">
                <a16:creationId xmlns:a16="http://schemas.microsoft.com/office/drawing/2014/main" id="{F2F3C940-AD7F-4BDC-B54E-5C35FE27C4CC}"/>
              </a:ext>
            </a:extLst>
          </p:cNvPr>
          <p:cNvGraphicFramePr>
            <a:graphicFrameLocks noGrp="1"/>
          </p:cNvGraphicFramePr>
          <p:nvPr>
            <p:ph sz="quarter" idx="13"/>
            <p:extLst>
              <p:ext uri="{D42A27DB-BD31-4B8C-83A1-F6EECF244321}">
                <p14:modId xmlns:p14="http://schemas.microsoft.com/office/powerpoint/2010/main" val="1364906177"/>
              </p:ext>
            </p:extLst>
          </p:nvPr>
        </p:nvGraphicFramePr>
        <p:xfrm>
          <a:off x="655637" y="1876900"/>
          <a:ext cx="10880725" cy="38378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285216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Best Practices – CCI Load</a:t>
            </a:r>
          </a:p>
        </p:txBody>
      </p:sp>
      <p:graphicFrame>
        <p:nvGraphicFramePr>
          <p:cNvPr id="5" name="Content Placeholder 4">
            <a:extLst>
              <a:ext uri="{FF2B5EF4-FFF2-40B4-BE49-F238E27FC236}">
                <a16:creationId xmlns:a16="http://schemas.microsoft.com/office/drawing/2014/main" id="{0690BB69-E359-4ACB-B0D7-C36798607629}"/>
              </a:ext>
            </a:extLst>
          </p:cNvPr>
          <p:cNvGraphicFramePr>
            <a:graphicFrameLocks noGrp="1"/>
          </p:cNvGraphicFramePr>
          <p:nvPr>
            <p:ph sz="quarter" idx="13"/>
            <p:extLst>
              <p:ext uri="{D42A27DB-BD31-4B8C-83A1-F6EECF244321}">
                <p14:modId xmlns:p14="http://schemas.microsoft.com/office/powerpoint/2010/main" val="756457591"/>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40643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Best Practices – CCI Load</a:t>
            </a:r>
          </a:p>
        </p:txBody>
      </p:sp>
      <p:graphicFrame>
        <p:nvGraphicFramePr>
          <p:cNvPr id="5" name="Content Placeholder 4">
            <a:extLst>
              <a:ext uri="{FF2B5EF4-FFF2-40B4-BE49-F238E27FC236}">
                <a16:creationId xmlns:a16="http://schemas.microsoft.com/office/drawing/2014/main" id="{0690BB69-E359-4ACB-B0D7-C36798607629}"/>
              </a:ext>
            </a:extLst>
          </p:cNvPr>
          <p:cNvGraphicFramePr>
            <a:graphicFrameLocks noGrp="1"/>
          </p:cNvGraphicFramePr>
          <p:nvPr>
            <p:ph sz="quarter" idx="13"/>
            <p:extLst>
              <p:ext uri="{D42A27DB-BD31-4B8C-83A1-F6EECF244321}">
                <p14:modId xmlns:p14="http://schemas.microsoft.com/office/powerpoint/2010/main" val="3091084950"/>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520426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Best Practices – Batch Sizes </a:t>
            </a:r>
          </a:p>
        </p:txBody>
      </p:sp>
      <p:graphicFrame>
        <p:nvGraphicFramePr>
          <p:cNvPr id="5" name="Content Placeholder 4">
            <a:extLst>
              <a:ext uri="{FF2B5EF4-FFF2-40B4-BE49-F238E27FC236}">
                <a16:creationId xmlns:a16="http://schemas.microsoft.com/office/drawing/2014/main" id="{0690BB69-E359-4ACB-B0D7-C36798607629}"/>
              </a:ext>
            </a:extLst>
          </p:cNvPr>
          <p:cNvGraphicFramePr>
            <a:graphicFrameLocks noGrp="1"/>
          </p:cNvGraphicFramePr>
          <p:nvPr>
            <p:ph sz="quarter" idx="13"/>
            <p:extLst>
              <p:ext uri="{D42A27DB-BD31-4B8C-83A1-F6EECF244321}">
                <p14:modId xmlns:p14="http://schemas.microsoft.com/office/powerpoint/2010/main" val="479945784"/>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567732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Best Practices – Insert into PROD Tables </a:t>
            </a:r>
          </a:p>
        </p:txBody>
      </p:sp>
      <p:graphicFrame>
        <p:nvGraphicFramePr>
          <p:cNvPr id="5" name="Content Placeholder 4">
            <a:extLst>
              <a:ext uri="{FF2B5EF4-FFF2-40B4-BE49-F238E27FC236}">
                <a16:creationId xmlns:a16="http://schemas.microsoft.com/office/drawing/2014/main" id="{0690BB69-E359-4ACB-B0D7-C36798607629}"/>
              </a:ext>
            </a:extLst>
          </p:cNvPr>
          <p:cNvGraphicFramePr>
            <a:graphicFrameLocks noGrp="1"/>
          </p:cNvGraphicFramePr>
          <p:nvPr>
            <p:ph sz="quarter" idx="13"/>
            <p:extLst>
              <p:ext uri="{D42A27DB-BD31-4B8C-83A1-F6EECF244321}">
                <p14:modId xmlns:p14="http://schemas.microsoft.com/office/powerpoint/2010/main" val="4127831037"/>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263192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Best Practices – Using Statistics</a:t>
            </a:r>
          </a:p>
        </p:txBody>
      </p:sp>
      <p:graphicFrame>
        <p:nvGraphicFramePr>
          <p:cNvPr id="5" name="Content Placeholder 4">
            <a:extLst>
              <a:ext uri="{FF2B5EF4-FFF2-40B4-BE49-F238E27FC236}">
                <a16:creationId xmlns:a16="http://schemas.microsoft.com/office/drawing/2014/main" id="{0690BB69-E359-4ACB-B0D7-C36798607629}"/>
              </a:ext>
            </a:extLst>
          </p:cNvPr>
          <p:cNvGraphicFramePr>
            <a:graphicFrameLocks noGrp="1"/>
          </p:cNvGraphicFramePr>
          <p:nvPr>
            <p:ph sz="quarter" idx="13"/>
            <p:extLst>
              <p:ext uri="{D42A27DB-BD31-4B8C-83A1-F6EECF244321}">
                <p14:modId xmlns:p14="http://schemas.microsoft.com/office/powerpoint/2010/main" val="3026901645"/>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302431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C64419E-33FF-4669-97EF-E07719AC5E82}"/>
              </a:ext>
            </a:extLst>
          </p:cNvPr>
          <p:cNvSpPr>
            <a:spLocks noGrp="1"/>
          </p:cNvSpPr>
          <p:nvPr>
            <p:ph type="title"/>
          </p:nvPr>
        </p:nvSpPr>
        <p:spPr/>
        <p:txBody>
          <a:bodyPr/>
          <a:lstStyle/>
          <a:p>
            <a:r>
              <a:rPr lang="en-US" dirty="0"/>
              <a:t>Knowledge Check – Views</a:t>
            </a:r>
          </a:p>
        </p:txBody>
      </p:sp>
      <p:graphicFrame>
        <p:nvGraphicFramePr>
          <p:cNvPr id="11" name="Diagram 10">
            <a:extLst>
              <a:ext uri="{FF2B5EF4-FFF2-40B4-BE49-F238E27FC236}">
                <a16:creationId xmlns:a16="http://schemas.microsoft.com/office/drawing/2014/main" id="{78590265-1871-45E9-9FAC-5CD170AB7F1E}"/>
              </a:ext>
            </a:extLst>
          </p:cNvPr>
          <p:cNvGraphicFramePr/>
          <p:nvPr>
            <p:extLst>
              <p:ext uri="{D42A27DB-BD31-4B8C-83A1-F6EECF244321}">
                <p14:modId xmlns:p14="http://schemas.microsoft.com/office/powerpoint/2010/main" val="3110516012"/>
              </p:ext>
            </p:extLst>
          </p:nvPr>
        </p:nvGraphicFramePr>
        <p:xfrm>
          <a:off x="389749" y="782080"/>
          <a:ext cx="3039630" cy="2961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3" name="Diagram 12">
            <a:extLst>
              <a:ext uri="{FF2B5EF4-FFF2-40B4-BE49-F238E27FC236}">
                <a16:creationId xmlns:a16="http://schemas.microsoft.com/office/drawing/2014/main" id="{351BAAB9-17D4-4F4A-8E62-EF2B5BC74E88}"/>
              </a:ext>
            </a:extLst>
          </p:cNvPr>
          <p:cNvGraphicFramePr/>
          <p:nvPr>
            <p:extLst>
              <p:ext uri="{D42A27DB-BD31-4B8C-83A1-F6EECF244321}">
                <p14:modId xmlns:p14="http://schemas.microsoft.com/office/powerpoint/2010/main" val="2483468605"/>
              </p:ext>
            </p:extLst>
          </p:nvPr>
        </p:nvGraphicFramePr>
        <p:xfrm>
          <a:off x="4442857" y="782080"/>
          <a:ext cx="3039628" cy="29612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8" name="Diagram 17">
            <a:extLst>
              <a:ext uri="{FF2B5EF4-FFF2-40B4-BE49-F238E27FC236}">
                <a16:creationId xmlns:a16="http://schemas.microsoft.com/office/drawing/2014/main" id="{6BEFBF48-40B8-441C-BBE7-F661BC93D3C9}"/>
              </a:ext>
            </a:extLst>
          </p:cNvPr>
          <p:cNvGraphicFramePr/>
          <p:nvPr>
            <p:extLst>
              <p:ext uri="{D42A27DB-BD31-4B8C-83A1-F6EECF244321}">
                <p14:modId xmlns:p14="http://schemas.microsoft.com/office/powerpoint/2010/main" val="1111995425"/>
              </p:ext>
            </p:extLst>
          </p:nvPr>
        </p:nvGraphicFramePr>
        <p:xfrm>
          <a:off x="8495963" y="782080"/>
          <a:ext cx="3039628" cy="29612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29" name="Diagram 28">
            <a:extLst>
              <a:ext uri="{FF2B5EF4-FFF2-40B4-BE49-F238E27FC236}">
                <a16:creationId xmlns:a16="http://schemas.microsoft.com/office/drawing/2014/main" id="{D2A0D0AD-E2A7-4622-9D69-8623A162E560}"/>
              </a:ext>
            </a:extLst>
          </p:cNvPr>
          <p:cNvGraphicFramePr/>
          <p:nvPr>
            <p:extLst>
              <p:ext uri="{D42A27DB-BD31-4B8C-83A1-F6EECF244321}">
                <p14:modId xmlns:p14="http://schemas.microsoft.com/office/powerpoint/2010/main" val="4125384530"/>
              </p:ext>
            </p:extLst>
          </p:nvPr>
        </p:nvGraphicFramePr>
        <p:xfrm>
          <a:off x="2528205" y="3576319"/>
          <a:ext cx="3039628" cy="2961200"/>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aphicFrame>
        <p:nvGraphicFramePr>
          <p:cNvPr id="33" name="Diagram 32">
            <a:extLst>
              <a:ext uri="{FF2B5EF4-FFF2-40B4-BE49-F238E27FC236}">
                <a16:creationId xmlns:a16="http://schemas.microsoft.com/office/drawing/2014/main" id="{3B0578A8-DDF7-4C7C-9DC0-CD728C751BC0}"/>
              </a:ext>
            </a:extLst>
          </p:cNvPr>
          <p:cNvGraphicFramePr/>
          <p:nvPr>
            <p:extLst>
              <p:ext uri="{D42A27DB-BD31-4B8C-83A1-F6EECF244321}">
                <p14:modId xmlns:p14="http://schemas.microsoft.com/office/powerpoint/2010/main" val="3232966717"/>
              </p:ext>
            </p:extLst>
          </p:nvPr>
        </p:nvGraphicFramePr>
        <p:xfrm>
          <a:off x="6624171" y="3576319"/>
          <a:ext cx="3039630" cy="2961200"/>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spTree>
    <p:extLst>
      <p:ext uri="{BB962C8B-B14F-4D97-AF65-F5344CB8AC3E}">
        <p14:creationId xmlns:p14="http://schemas.microsoft.com/office/powerpoint/2010/main" val="2038431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Graphic spid="13" grpId="0">
        <p:bldAsOne/>
      </p:bldGraphic>
      <p:bldGraphic spid="18" grpId="0">
        <p:bldAsOne/>
      </p:bldGraphic>
      <p:bldGraphic spid="29" grpId="0">
        <p:bldAsOne/>
      </p:bldGraphic>
      <p:bldGraphic spid="33" grpId="0">
        <p:bldAsOne/>
      </p:bldGraphic>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16568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Loading Strategy</a:t>
            </a:r>
          </a:p>
          <a:p>
            <a:r>
              <a:rPr lang="en-US" dirty="0"/>
              <a:t>Lesson 2: Best Practices</a:t>
            </a:r>
          </a:p>
        </p:txBody>
      </p:sp>
    </p:spTree>
    <p:extLst>
      <p:ext uri="{BB962C8B-B14F-4D97-AF65-F5344CB8AC3E}">
        <p14:creationId xmlns:p14="http://schemas.microsoft.com/office/powerpoint/2010/main" val="16155601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Loading Strategies</a:t>
            </a:r>
          </a:p>
        </p:txBody>
      </p:sp>
    </p:spTree>
    <p:extLst>
      <p:ext uri="{BB962C8B-B14F-4D97-AF65-F5344CB8AC3E}">
        <p14:creationId xmlns:p14="http://schemas.microsoft.com/office/powerpoint/2010/main" val="33380670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56410" y="1408400"/>
            <a:ext cx="10879183" cy="1840151"/>
          </a:xfrm>
        </p:spPr>
        <p:txBody>
          <a:bodyPr>
            <a:normAutofit/>
          </a:bodyPr>
          <a:lstStyle/>
          <a:p>
            <a:r>
              <a:rPr lang="en-US" dirty="0"/>
              <a:t>Understand the following topic(s):</a:t>
            </a:r>
          </a:p>
          <a:p>
            <a:pPr lvl="1"/>
            <a:r>
              <a:rPr lang="en-US" dirty="0"/>
              <a:t>ELT vs ETL Model</a:t>
            </a:r>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745145" y="3679790"/>
            <a:ext cx="1828541" cy="2371389"/>
          </a:xfrm>
          <a:prstGeom prst="rect">
            <a:avLst/>
          </a:prstGeom>
        </p:spPr>
      </p:pic>
    </p:spTree>
    <p:custDataLst>
      <p:tags r:id="rId1"/>
    </p:custDataLst>
    <p:extLst>
      <p:ext uri="{BB962C8B-B14F-4D97-AF65-F5344CB8AC3E}">
        <p14:creationId xmlns:p14="http://schemas.microsoft.com/office/powerpoint/2010/main" val="342300403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587F5-6909-4DE7-B67A-0EFCD375542C}"/>
              </a:ext>
            </a:extLst>
          </p:cNvPr>
          <p:cNvSpPr>
            <a:spLocks noGrp="1"/>
          </p:cNvSpPr>
          <p:nvPr>
            <p:ph type="title"/>
          </p:nvPr>
        </p:nvSpPr>
        <p:spPr/>
        <p:txBody>
          <a:bodyPr/>
          <a:lstStyle/>
          <a:p>
            <a:r>
              <a:rPr lang="en-US" dirty="0">
                <a:cs typeface="Segoe UI"/>
              </a:rPr>
              <a:t>Modern Data Warehousing Patterns</a:t>
            </a:r>
          </a:p>
        </p:txBody>
      </p:sp>
      <p:sp>
        <p:nvSpPr>
          <p:cNvPr id="3" name="Rectangle 2">
            <a:extLst>
              <a:ext uri="{FF2B5EF4-FFF2-40B4-BE49-F238E27FC236}">
                <a16:creationId xmlns:a16="http://schemas.microsoft.com/office/drawing/2014/main" id="{63D396DF-9507-44B8-92EC-73B657AB8FAE}"/>
              </a:ext>
            </a:extLst>
          </p:cNvPr>
          <p:cNvSpPr/>
          <p:nvPr/>
        </p:nvSpPr>
        <p:spPr bwMode="auto">
          <a:xfrm>
            <a:off x="5466905" y="1867237"/>
            <a:ext cx="3110204" cy="2900697"/>
          </a:xfrm>
          <a:prstGeom prst="rect">
            <a:avLst/>
          </a:prstGeom>
          <a:solidFill>
            <a:srgbClr val="E6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Model &amp; Serve</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4" name="Rectangle 3">
            <a:extLst>
              <a:ext uri="{FF2B5EF4-FFF2-40B4-BE49-F238E27FC236}">
                <a16:creationId xmlns:a16="http://schemas.microsoft.com/office/drawing/2014/main" id="{37D91F1C-ED78-45F2-9789-6EE6BC0AD30C}"/>
              </a:ext>
            </a:extLst>
          </p:cNvPr>
          <p:cNvSpPr/>
          <p:nvPr/>
        </p:nvSpPr>
        <p:spPr bwMode="auto">
          <a:xfrm>
            <a:off x="8729065" y="1867237"/>
            <a:ext cx="3110204" cy="2900697"/>
          </a:xfrm>
          <a:prstGeom prst="rect">
            <a:avLst/>
          </a:prstGeom>
          <a:solidFill>
            <a:srgbClr val="E5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Visualize</a:t>
            </a:r>
          </a:p>
        </p:txBody>
      </p:sp>
      <p:sp>
        <p:nvSpPr>
          <p:cNvPr id="5" name="Rectangle 4">
            <a:extLst>
              <a:ext uri="{FF2B5EF4-FFF2-40B4-BE49-F238E27FC236}">
                <a16:creationId xmlns:a16="http://schemas.microsoft.com/office/drawing/2014/main" id="{9EE5EA5E-51D1-4FC1-BF2F-878A60E288DD}"/>
              </a:ext>
            </a:extLst>
          </p:cNvPr>
          <p:cNvSpPr/>
          <p:nvPr/>
        </p:nvSpPr>
        <p:spPr bwMode="auto">
          <a:xfrm>
            <a:off x="2212187" y="1867237"/>
            <a:ext cx="3110204" cy="2900697"/>
          </a:xfrm>
          <a:prstGeom prst="rect">
            <a:avLst/>
          </a:prstGeom>
          <a:solidFill>
            <a:srgbClr val="E6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Ingest &amp; Prep</a:t>
            </a:r>
          </a:p>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6" name="Rectangle 5">
            <a:extLst>
              <a:ext uri="{FF2B5EF4-FFF2-40B4-BE49-F238E27FC236}">
                <a16:creationId xmlns:a16="http://schemas.microsoft.com/office/drawing/2014/main" id="{FD27ECFA-B931-4A7A-AD42-BBFB8A2EF2DC}"/>
              </a:ext>
            </a:extLst>
          </p:cNvPr>
          <p:cNvSpPr/>
          <p:nvPr/>
        </p:nvSpPr>
        <p:spPr bwMode="auto">
          <a:xfrm>
            <a:off x="2204746" y="4914901"/>
            <a:ext cx="9654743" cy="1390902"/>
          </a:xfrm>
          <a:prstGeom prst="rect">
            <a:avLst/>
          </a:prstGeom>
          <a:solidFill>
            <a:srgbClr val="E5E6E6"/>
          </a:solidFill>
          <a:ln w="9525" cap="flat" cmpd="sng" algn="ctr">
            <a:no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Store</a:t>
            </a:r>
          </a:p>
        </p:txBody>
      </p:sp>
      <p:sp>
        <p:nvSpPr>
          <p:cNvPr id="7" name="TextBox 6">
            <a:extLst>
              <a:ext uri="{FF2B5EF4-FFF2-40B4-BE49-F238E27FC236}">
                <a16:creationId xmlns:a16="http://schemas.microsoft.com/office/drawing/2014/main" id="{075C0E88-B725-41E4-B538-BAAB7A0C6400}"/>
              </a:ext>
            </a:extLst>
          </p:cNvPr>
          <p:cNvSpPr txBox="1"/>
          <p:nvPr/>
        </p:nvSpPr>
        <p:spPr>
          <a:xfrm>
            <a:off x="740276" y="2724185"/>
            <a:ext cx="1045736"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Logs (unstructured)</a:t>
            </a:r>
          </a:p>
        </p:txBody>
      </p:sp>
      <p:sp>
        <p:nvSpPr>
          <p:cNvPr id="8" name="TextBox 7">
            <a:extLst>
              <a:ext uri="{FF2B5EF4-FFF2-40B4-BE49-F238E27FC236}">
                <a16:creationId xmlns:a16="http://schemas.microsoft.com/office/drawing/2014/main" id="{C9EE7EAB-1950-4994-A83D-2CA942E8889C}"/>
              </a:ext>
            </a:extLst>
          </p:cNvPr>
          <p:cNvSpPr txBox="1"/>
          <p:nvPr/>
        </p:nvSpPr>
        <p:spPr>
          <a:xfrm>
            <a:off x="740276" y="3547859"/>
            <a:ext cx="1129729"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Media (unstructured)</a:t>
            </a:r>
          </a:p>
        </p:txBody>
      </p:sp>
      <p:sp>
        <p:nvSpPr>
          <p:cNvPr id="9" name="TextBox 8">
            <a:extLst>
              <a:ext uri="{FF2B5EF4-FFF2-40B4-BE49-F238E27FC236}">
                <a16:creationId xmlns:a16="http://schemas.microsoft.com/office/drawing/2014/main" id="{26915F98-8F99-4E5F-B7FC-393A508748E2}"/>
              </a:ext>
            </a:extLst>
          </p:cNvPr>
          <p:cNvSpPr txBox="1"/>
          <p:nvPr/>
        </p:nvSpPr>
        <p:spPr>
          <a:xfrm>
            <a:off x="740275" y="4371533"/>
            <a:ext cx="1026647" cy="332399"/>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Files (unstructured)</a:t>
            </a:r>
          </a:p>
        </p:txBody>
      </p:sp>
      <p:sp>
        <p:nvSpPr>
          <p:cNvPr id="10" name="TextBox 9">
            <a:extLst>
              <a:ext uri="{FF2B5EF4-FFF2-40B4-BE49-F238E27FC236}">
                <a16:creationId xmlns:a16="http://schemas.microsoft.com/office/drawing/2014/main" id="{1CB40F69-94FF-4C33-AFDB-6BCECE82CDC8}"/>
              </a:ext>
            </a:extLst>
          </p:cNvPr>
          <p:cNvSpPr txBox="1"/>
          <p:nvPr/>
        </p:nvSpPr>
        <p:spPr>
          <a:xfrm>
            <a:off x="740275" y="5112108"/>
            <a:ext cx="997441" cy="498598"/>
          </a:xfrm>
          <a:prstGeom prst="rect">
            <a:avLst/>
          </a:prstGeom>
          <a:noFill/>
        </p:spPr>
        <p:txBody>
          <a:bodyPr wrap="square" lIns="0" tIns="0" rIns="0" bIns="0" rtlCol="0" anchor="ctr" anchorCtr="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mn-cs"/>
              </a:rPr>
              <a:t>Business/</a:t>
            </a:r>
            <a:br>
              <a:rPr kumimoji="0" lang="en-US" sz="1200" b="0" i="0" u="none" strike="noStrike" kern="1200" cap="none" spc="0" normalizeH="0" baseline="0" noProof="0">
                <a:ln>
                  <a:noFill/>
                </a:ln>
                <a:solidFill>
                  <a:srgbClr val="000000"/>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Semibold"/>
                <a:ea typeface="+mn-ea"/>
                <a:cs typeface="+mn-cs"/>
              </a:rPr>
              <a:t>custom apps </a:t>
            </a:r>
            <a:br>
              <a:rPr kumimoji="0" lang="en-US" sz="1200" b="0" i="0" u="none" strike="noStrike" kern="1200" cap="none" spc="0" normalizeH="0" baseline="0" noProof="0">
                <a:ln>
                  <a:noFill/>
                </a:ln>
                <a:solidFill>
                  <a:srgbClr val="000000"/>
                </a:solidFill>
                <a:effectLst/>
                <a:uLnTx/>
                <a:uFillTx/>
                <a:latin typeface="Segoe UI Semibold"/>
                <a:ea typeface="+mn-ea"/>
                <a:cs typeface="+mn-cs"/>
              </a:rPr>
            </a:br>
            <a:r>
              <a:rPr kumimoji="0" lang="en-US" sz="1200" b="0" i="0" u="none" strike="noStrike" kern="1200" cap="none" spc="0" normalizeH="0" baseline="0" noProof="0">
                <a:ln>
                  <a:noFill/>
                </a:ln>
                <a:solidFill>
                  <a:srgbClr val="000000"/>
                </a:solidFill>
                <a:effectLst/>
                <a:uLnTx/>
                <a:uFillTx/>
                <a:latin typeface="Segoe UI Semibold"/>
                <a:ea typeface="+mn-ea"/>
                <a:cs typeface="+mn-cs"/>
              </a:rPr>
              <a:t>(structured)</a:t>
            </a:r>
          </a:p>
        </p:txBody>
      </p:sp>
      <p:sp>
        <p:nvSpPr>
          <p:cNvPr id="11" name="Right Bracket 10">
            <a:extLst>
              <a:ext uri="{FF2B5EF4-FFF2-40B4-BE49-F238E27FC236}">
                <a16:creationId xmlns:a16="http://schemas.microsoft.com/office/drawing/2014/main" id="{7BBD9D84-94E3-4F25-80D6-8D5016CA1F65}"/>
              </a:ext>
            </a:extLst>
          </p:cNvPr>
          <p:cNvSpPr/>
          <p:nvPr/>
        </p:nvSpPr>
        <p:spPr>
          <a:xfrm>
            <a:off x="1729256" y="1867237"/>
            <a:ext cx="159697" cy="4533517"/>
          </a:xfrm>
          <a:prstGeom prst="rightBracket">
            <a:avLst>
              <a:gd name="adj" fmla="val 0"/>
            </a:avLst>
          </a:prstGeom>
          <a:ln w="19050">
            <a:solidFill>
              <a:srgbClr val="0078D7"/>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2" name="Straight Arrow Connector 11">
            <a:extLst>
              <a:ext uri="{FF2B5EF4-FFF2-40B4-BE49-F238E27FC236}">
                <a16:creationId xmlns:a16="http://schemas.microsoft.com/office/drawing/2014/main" id="{595A3A2A-1F2F-44CE-BFAA-BBFACE774DD2}"/>
              </a:ext>
            </a:extLst>
          </p:cNvPr>
          <p:cNvCxnSpPr>
            <a:cxnSpLocks/>
          </p:cNvCxnSpPr>
          <p:nvPr/>
        </p:nvCxnSpPr>
        <p:spPr>
          <a:xfrm>
            <a:off x="1907832" y="2410979"/>
            <a:ext cx="593827"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F905CE8-0369-4667-824C-A05DF5DD87F1}"/>
              </a:ext>
            </a:extLst>
          </p:cNvPr>
          <p:cNvCxnSpPr>
            <a:cxnSpLocks/>
          </p:cNvCxnSpPr>
          <p:nvPr/>
        </p:nvCxnSpPr>
        <p:spPr>
          <a:xfrm>
            <a:off x="5017770" y="2341682"/>
            <a:ext cx="594360"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5FD6D16-EB6E-4EDC-81A4-6796498F0416}"/>
              </a:ext>
            </a:extLst>
          </p:cNvPr>
          <p:cNvCxnSpPr>
            <a:cxnSpLocks/>
          </p:cNvCxnSpPr>
          <p:nvPr/>
        </p:nvCxnSpPr>
        <p:spPr>
          <a:xfrm>
            <a:off x="1907832" y="5498808"/>
            <a:ext cx="593827"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FE070E3-E51B-48F2-BD0E-F2F682764D2A}"/>
              </a:ext>
            </a:extLst>
          </p:cNvPr>
          <p:cNvCxnSpPr>
            <a:cxnSpLocks/>
          </p:cNvCxnSpPr>
          <p:nvPr/>
        </p:nvCxnSpPr>
        <p:spPr>
          <a:xfrm>
            <a:off x="8354242" y="2337492"/>
            <a:ext cx="594360" cy="0"/>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9F0A554-C199-4F14-B11A-3EC65DDDE603}"/>
              </a:ext>
            </a:extLst>
          </p:cNvPr>
          <p:cNvCxnSpPr>
            <a:cxnSpLocks/>
          </p:cNvCxnSpPr>
          <p:nvPr/>
        </p:nvCxnSpPr>
        <p:spPr>
          <a:xfrm flipV="1">
            <a:off x="7022007" y="4591858"/>
            <a:ext cx="0" cy="465579"/>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F27D97A-69A1-4F4B-8103-56AFFA659077}"/>
              </a:ext>
            </a:extLst>
          </p:cNvPr>
          <p:cNvSpPr txBox="1"/>
          <p:nvPr/>
        </p:nvSpPr>
        <p:spPr>
          <a:xfrm>
            <a:off x="2683407" y="3054972"/>
            <a:ext cx="2042864" cy="461665"/>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de-free data transformation and  ingestion from 90+ data integration connectors</a:t>
            </a:r>
          </a:p>
        </p:txBody>
      </p:sp>
      <p:sp>
        <p:nvSpPr>
          <p:cNvPr id="20" name="TextBox 19">
            <a:extLst>
              <a:ext uri="{FF2B5EF4-FFF2-40B4-BE49-F238E27FC236}">
                <a16:creationId xmlns:a16="http://schemas.microsoft.com/office/drawing/2014/main" id="{3D6936F9-7C27-417D-B057-504A157DB17A}"/>
              </a:ext>
            </a:extLst>
          </p:cNvPr>
          <p:cNvSpPr txBox="1"/>
          <p:nvPr/>
        </p:nvSpPr>
        <p:spPr>
          <a:xfrm>
            <a:off x="9089024" y="3629018"/>
            <a:ext cx="2390286" cy="307777"/>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Leader in the Magic Quadrant for Business Intelligence and Analytics Platforms*</a:t>
            </a:r>
          </a:p>
        </p:txBody>
      </p:sp>
      <p:sp>
        <p:nvSpPr>
          <p:cNvPr id="21" name="TextBox 20">
            <a:extLst>
              <a:ext uri="{FF2B5EF4-FFF2-40B4-BE49-F238E27FC236}">
                <a16:creationId xmlns:a16="http://schemas.microsoft.com/office/drawing/2014/main" id="{E6823166-CDC1-494D-8E74-A9B26D4D0D45}"/>
              </a:ext>
            </a:extLst>
          </p:cNvPr>
          <p:cNvSpPr txBox="1"/>
          <p:nvPr/>
        </p:nvSpPr>
        <p:spPr>
          <a:xfrm>
            <a:off x="5975772" y="3629018"/>
            <a:ext cx="2092469" cy="307777"/>
          </a:xfrm>
          <a:prstGeom prst="rect">
            <a:avLst/>
          </a:prstGeom>
          <a:noFill/>
        </p:spPr>
        <p:txBody>
          <a:bodyPr wrap="square" lIns="0" tIns="0" rIns="0" bIns="0" rtlCol="0" anchor="ctr" anchorCtr="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Up to 14x faster and costs 94% less than other cloud providers</a:t>
            </a:r>
          </a:p>
        </p:txBody>
      </p:sp>
      <p:sp>
        <p:nvSpPr>
          <p:cNvPr id="22" name="TextBox 21">
            <a:extLst>
              <a:ext uri="{FF2B5EF4-FFF2-40B4-BE49-F238E27FC236}">
                <a16:creationId xmlns:a16="http://schemas.microsoft.com/office/drawing/2014/main" id="{40D2E93F-4EAD-427F-9F41-CCA03C52CF48}"/>
              </a:ext>
            </a:extLst>
          </p:cNvPr>
          <p:cNvSpPr txBox="1"/>
          <p:nvPr/>
        </p:nvSpPr>
        <p:spPr>
          <a:xfrm>
            <a:off x="6236406" y="5861278"/>
            <a:ext cx="2072250" cy="307777"/>
          </a:xfrm>
          <a:prstGeom prst="rect">
            <a:avLst/>
          </a:prstGeom>
          <a:noFill/>
        </p:spPr>
        <p:txBody>
          <a:bodyPr wrap="square" lIns="0" tIns="0" rIns="0" bIns="0" rtlCol="0" anchor="ctr" anchorCtr="0">
            <a:spAutoFit/>
          </a:bodyPr>
          <a:lstStyle>
            <a:defPPr>
              <a:defRPr lang="en-US"/>
            </a:defPPr>
            <a:lvl1pPr marR="0" lvl="0" indent="0" algn="ctr" defTabSz="914367" fontAlgn="auto">
              <a:lnSpc>
                <a:spcPct val="100000"/>
              </a:lnSpc>
              <a:spcBef>
                <a:spcPts val="0"/>
              </a:spcBef>
              <a:spcAft>
                <a:spcPts val="0"/>
              </a:spcAft>
              <a:buClrTx/>
              <a:buSzTx/>
              <a:buFontTx/>
              <a:buNone/>
              <a:tabLst/>
              <a:defRPr sz="1000">
                <a:gradFill>
                  <a:gsLst>
                    <a:gs pos="2917">
                      <a:srgbClr val="1A1A1A"/>
                    </a:gs>
                    <a:gs pos="30000">
                      <a:srgbClr val="1A1A1A"/>
                    </a:gs>
                  </a:gsLst>
                  <a:lin ang="5400000" scaled="0"/>
                </a:gradFill>
                <a:latin typeface="Segoe UI" panose="020B0502040204020203" pitchFamily="34" charset="0"/>
                <a:cs typeface="Segoe UI"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igh performance data lake available in all 54 Azure regions</a:t>
            </a:r>
          </a:p>
        </p:txBody>
      </p:sp>
      <p:sp>
        <p:nvSpPr>
          <p:cNvPr id="23" name="TextBox 22">
            <a:extLst>
              <a:ext uri="{FF2B5EF4-FFF2-40B4-BE49-F238E27FC236}">
                <a16:creationId xmlns:a16="http://schemas.microsoft.com/office/drawing/2014/main" id="{F1DAC04D-3EC3-4BC4-9560-7A4069229FFC}"/>
              </a:ext>
            </a:extLst>
          </p:cNvPr>
          <p:cNvSpPr txBox="1"/>
          <p:nvPr/>
        </p:nvSpPr>
        <p:spPr>
          <a:xfrm>
            <a:off x="10346284" y="3001490"/>
            <a:ext cx="714426" cy="1938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Power BI</a:t>
            </a:r>
          </a:p>
        </p:txBody>
      </p:sp>
      <p:sp>
        <p:nvSpPr>
          <p:cNvPr id="24" name="Freeform: Shape 23">
            <a:extLst>
              <a:ext uri="{FF2B5EF4-FFF2-40B4-BE49-F238E27FC236}">
                <a16:creationId xmlns:a16="http://schemas.microsoft.com/office/drawing/2014/main" id="{ECA4373E-57BE-43D0-9B0E-9D2535372E60}"/>
              </a:ext>
            </a:extLst>
          </p:cNvPr>
          <p:cNvSpPr>
            <a:spLocks noChangeAspect="1"/>
          </p:cNvSpPr>
          <p:nvPr/>
        </p:nvSpPr>
        <p:spPr bwMode="auto">
          <a:xfrm flipV="1">
            <a:off x="9597315" y="2935867"/>
            <a:ext cx="456306" cy="339887"/>
          </a:xfrm>
          <a:custGeom>
            <a:avLst/>
            <a:gdLst>
              <a:gd name="connsiteX0" fmla="*/ 724747 w 3011132"/>
              <a:gd name="connsiteY0" fmla="*/ 690457 h 2242888"/>
              <a:gd name="connsiteX1" fmla="*/ 889639 w 3011132"/>
              <a:gd name="connsiteY1" fmla="*/ 525565 h 2242888"/>
              <a:gd name="connsiteX2" fmla="*/ 889638 w 3011132"/>
              <a:gd name="connsiteY2" fmla="*/ 164892 h 2242888"/>
              <a:gd name="connsiteX3" fmla="*/ 724746 w 3011132"/>
              <a:gd name="connsiteY3" fmla="*/ 0 h 2242888"/>
              <a:gd name="connsiteX4" fmla="*/ 724747 w 3011132"/>
              <a:gd name="connsiteY4" fmla="*/ 1 h 2242888"/>
              <a:gd name="connsiteX5" fmla="*/ 559855 w 3011132"/>
              <a:gd name="connsiteY5" fmla="*/ 164893 h 2242888"/>
              <a:gd name="connsiteX6" fmla="*/ 559855 w 3011132"/>
              <a:gd name="connsiteY6" fmla="*/ 525565 h 2242888"/>
              <a:gd name="connsiteX7" fmla="*/ 724747 w 3011132"/>
              <a:gd name="connsiteY7" fmla="*/ 690457 h 2242888"/>
              <a:gd name="connsiteX8" fmla="*/ 1772676 w 3011132"/>
              <a:gd name="connsiteY8" fmla="*/ 1028296 h 2242888"/>
              <a:gd name="connsiteX9" fmla="*/ 1937568 w 3011132"/>
              <a:gd name="connsiteY9" fmla="*/ 863404 h 2242888"/>
              <a:gd name="connsiteX10" fmla="*/ 1937569 w 3011132"/>
              <a:gd name="connsiteY10" fmla="*/ 164893 h 2242888"/>
              <a:gd name="connsiteX11" fmla="*/ 1772677 w 3011132"/>
              <a:gd name="connsiteY11" fmla="*/ 1 h 2242888"/>
              <a:gd name="connsiteX12" fmla="*/ 1607785 w 3011132"/>
              <a:gd name="connsiteY12" fmla="*/ 164893 h 2242888"/>
              <a:gd name="connsiteX13" fmla="*/ 1607785 w 3011132"/>
              <a:gd name="connsiteY13" fmla="*/ 863403 h 2242888"/>
              <a:gd name="connsiteX14" fmla="*/ 1772677 w 3011132"/>
              <a:gd name="connsiteY14" fmla="*/ 1028295 h 2242888"/>
              <a:gd name="connsiteX15" fmla="*/ 1248711 w 3011132"/>
              <a:gd name="connsiteY15" fmla="*/ 1291654 h 2242888"/>
              <a:gd name="connsiteX16" fmla="*/ 1413603 w 3011132"/>
              <a:gd name="connsiteY16" fmla="*/ 1126762 h 2242888"/>
              <a:gd name="connsiteX17" fmla="*/ 1413604 w 3011132"/>
              <a:gd name="connsiteY17" fmla="*/ 164893 h 2242888"/>
              <a:gd name="connsiteX18" fmla="*/ 1248712 w 3011132"/>
              <a:gd name="connsiteY18" fmla="*/ 1 h 2242888"/>
              <a:gd name="connsiteX19" fmla="*/ 1083820 w 3011132"/>
              <a:gd name="connsiteY19" fmla="*/ 164893 h 2242888"/>
              <a:gd name="connsiteX20" fmla="*/ 1083820 w 3011132"/>
              <a:gd name="connsiteY20" fmla="*/ 1126761 h 2242888"/>
              <a:gd name="connsiteX21" fmla="*/ 1248712 w 3011132"/>
              <a:gd name="connsiteY21" fmla="*/ 1291653 h 2242888"/>
              <a:gd name="connsiteX22" fmla="*/ 2296641 w 3011132"/>
              <a:gd name="connsiteY22" fmla="*/ 1696388 h 2242888"/>
              <a:gd name="connsiteX23" fmla="*/ 2461533 w 3011132"/>
              <a:gd name="connsiteY23" fmla="*/ 1531496 h 2242888"/>
              <a:gd name="connsiteX24" fmla="*/ 2461534 w 3011132"/>
              <a:gd name="connsiteY24" fmla="*/ 164893 h 2242888"/>
              <a:gd name="connsiteX25" fmla="*/ 2296642 w 3011132"/>
              <a:gd name="connsiteY25" fmla="*/ 1 h 2242888"/>
              <a:gd name="connsiteX26" fmla="*/ 2131750 w 3011132"/>
              <a:gd name="connsiteY26" fmla="*/ 164893 h 2242888"/>
              <a:gd name="connsiteX27" fmla="*/ 2131750 w 3011132"/>
              <a:gd name="connsiteY27" fmla="*/ 1531495 h 2242888"/>
              <a:gd name="connsiteX28" fmla="*/ 2296642 w 3011132"/>
              <a:gd name="connsiteY28" fmla="*/ 1696387 h 2242888"/>
              <a:gd name="connsiteX29" fmla="*/ 370635 w 3011132"/>
              <a:gd name="connsiteY29" fmla="*/ 2242888 h 2242888"/>
              <a:gd name="connsiteX30" fmla="*/ 2640497 w 3011132"/>
              <a:gd name="connsiteY30" fmla="*/ 2242888 h 2242888"/>
              <a:gd name="connsiteX31" fmla="*/ 3011132 w 3011132"/>
              <a:gd name="connsiteY31" fmla="*/ 1872253 h 2242888"/>
              <a:gd name="connsiteX32" fmla="*/ 3011132 w 3011132"/>
              <a:gd name="connsiteY32" fmla="*/ 653116 h 2242888"/>
              <a:gd name="connsiteX33" fmla="*/ 2640497 w 3011132"/>
              <a:gd name="connsiteY33" fmla="*/ 282481 h 2242888"/>
              <a:gd name="connsiteX34" fmla="*/ 2630997 w 3011132"/>
              <a:gd name="connsiteY34" fmla="*/ 282481 h 2242888"/>
              <a:gd name="connsiteX35" fmla="*/ 2630997 w 3011132"/>
              <a:gd name="connsiteY35" fmla="*/ 397932 h 2242888"/>
              <a:gd name="connsiteX36" fmla="*/ 2635026 w 3011132"/>
              <a:gd name="connsiteY36" fmla="*/ 397932 h 2242888"/>
              <a:gd name="connsiteX37" fmla="*/ 2892528 w 3011132"/>
              <a:gd name="connsiteY37" fmla="*/ 655434 h 2242888"/>
              <a:gd name="connsiteX38" fmla="*/ 2892528 w 3011132"/>
              <a:gd name="connsiteY38" fmla="*/ 1869563 h 2242888"/>
              <a:gd name="connsiteX39" fmla="*/ 2635026 w 3011132"/>
              <a:gd name="connsiteY39" fmla="*/ 2127065 h 2242888"/>
              <a:gd name="connsiteX40" fmla="*/ 385364 w 3011132"/>
              <a:gd name="connsiteY40" fmla="*/ 2127065 h 2242888"/>
              <a:gd name="connsiteX41" fmla="*/ 127862 w 3011132"/>
              <a:gd name="connsiteY41" fmla="*/ 1869563 h 2242888"/>
              <a:gd name="connsiteX42" fmla="*/ 127862 w 3011132"/>
              <a:gd name="connsiteY42" fmla="*/ 655434 h 2242888"/>
              <a:gd name="connsiteX43" fmla="*/ 385364 w 3011132"/>
              <a:gd name="connsiteY43" fmla="*/ 397932 h 2242888"/>
              <a:gd name="connsiteX44" fmla="*/ 412220 w 3011132"/>
              <a:gd name="connsiteY44" fmla="*/ 397932 h 2242888"/>
              <a:gd name="connsiteX45" fmla="*/ 412220 w 3011132"/>
              <a:gd name="connsiteY45" fmla="*/ 282481 h 2242888"/>
              <a:gd name="connsiteX46" fmla="*/ 370635 w 3011132"/>
              <a:gd name="connsiteY46" fmla="*/ 282481 h 2242888"/>
              <a:gd name="connsiteX47" fmla="*/ 0 w 3011132"/>
              <a:gd name="connsiteY47" fmla="*/ 653116 h 2242888"/>
              <a:gd name="connsiteX48" fmla="*/ 0 w 3011132"/>
              <a:gd name="connsiteY48" fmla="*/ 1872253 h 2242888"/>
              <a:gd name="connsiteX49" fmla="*/ 370635 w 3011132"/>
              <a:gd name="connsiteY49" fmla="*/ 2242888 h 224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011132" h="2242888">
                <a:moveTo>
                  <a:pt x="724747" y="690457"/>
                </a:moveTo>
                <a:cubicBezTo>
                  <a:pt x="815814" y="690457"/>
                  <a:pt x="889639" y="616632"/>
                  <a:pt x="889639" y="525565"/>
                </a:cubicBezTo>
                <a:cubicBezTo>
                  <a:pt x="889639" y="405341"/>
                  <a:pt x="889638" y="285116"/>
                  <a:pt x="889638" y="164892"/>
                </a:cubicBezTo>
                <a:cubicBezTo>
                  <a:pt x="889638" y="73825"/>
                  <a:pt x="815813" y="0"/>
                  <a:pt x="724746" y="0"/>
                </a:cubicBezTo>
                <a:lnTo>
                  <a:pt x="724747" y="1"/>
                </a:lnTo>
                <a:cubicBezTo>
                  <a:pt x="633680" y="1"/>
                  <a:pt x="559855" y="73826"/>
                  <a:pt x="559855" y="164893"/>
                </a:cubicBezTo>
                <a:lnTo>
                  <a:pt x="559855" y="525565"/>
                </a:lnTo>
                <a:cubicBezTo>
                  <a:pt x="559855" y="616632"/>
                  <a:pt x="633680" y="690457"/>
                  <a:pt x="724747" y="690457"/>
                </a:cubicBezTo>
                <a:close/>
                <a:moveTo>
                  <a:pt x="1772676" y="1028296"/>
                </a:moveTo>
                <a:cubicBezTo>
                  <a:pt x="1863743" y="1028296"/>
                  <a:pt x="1937568" y="954471"/>
                  <a:pt x="1937568" y="863404"/>
                </a:cubicBezTo>
                <a:cubicBezTo>
                  <a:pt x="1937568" y="630567"/>
                  <a:pt x="1937569" y="397730"/>
                  <a:pt x="1937569" y="164893"/>
                </a:cubicBezTo>
                <a:cubicBezTo>
                  <a:pt x="1937569" y="73826"/>
                  <a:pt x="1863744" y="1"/>
                  <a:pt x="1772677" y="1"/>
                </a:cubicBezTo>
                <a:cubicBezTo>
                  <a:pt x="1681610" y="1"/>
                  <a:pt x="1607785" y="73826"/>
                  <a:pt x="1607785" y="164893"/>
                </a:cubicBezTo>
                <a:lnTo>
                  <a:pt x="1607785" y="863403"/>
                </a:lnTo>
                <a:cubicBezTo>
                  <a:pt x="1607785" y="954470"/>
                  <a:pt x="1681610" y="1028295"/>
                  <a:pt x="1772677" y="1028295"/>
                </a:cubicBezTo>
                <a:close/>
                <a:moveTo>
                  <a:pt x="1248711" y="1291654"/>
                </a:moveTo>
                <a:cubicBezTo>
                  <a:pt x="1339778" y="1291654"/>
                  <a:pt x="1413603" y="1217829"/>
                  <a:pt x="1413603" y="1126762"/>
                </a:cubicBezTo>
                <a:cubicBezTo>
                  <a:pt x="1413603" y="806139"/>
                  <a:pt x="1413604" y="485516"/>
                  <a:pt x="1413604" y="164893"/>
                </a:cubicBezTo>
                <a:cubicBezTo>
                  <a:pt x="1413604" y="73826"/>
                  <a:pt x="1339779" y="1"/>
                  <a:pt x="1248712" y="1"/>
                </a:cubicBezTo>
                <a:cubicBezTo>
                  <a:pt x="1157645" y="1"/>
                  <a:pt x="1083820" y="73826"/>
                  <a:pt x="1083820" y="164893"/>
                </a:cubicBezTo>
                <a:lnTo>
                  <a:pt x="1083820" y="1126761"/>
                </a:lnTo>
                <a:cubicBezTo>
                  <a:pt x="1083820" y="1217828"/>
                  <a:pt x="1157645" y="1291653"/>
                  <a:pt x="1248712" y="1291653"/>
                </a:cubicBezTo>
                <a:close/>
                <a:moveTo>
                  <a:pt x="2296641" y="1696388"/>
                </a:moveTo>
                <a:cubicBezTo>
                  <a:pt x="2387708" y="1696388"/>
                  <a:pt x="2461533" y="1622563"/>
                  <a:pt x="2461533" y="1531496"/>
                </a:cubicBezTo>
                <a:cubicBezTo>
                  <a:pt x="2461533" y="1075962"/>
                  <a:pt x="2461534" y="620427"/>
                  <a:pt x="2461534" y="164893"/>
                </a:cubicBezTo>
                <a:cubicBezTo>
                  <a:pt x="2461534" y="73826"/>
                  <a:pt x="2387709" y="1"/>
                  <a:pt x="2296642" y="1"/>
                </a:cubicBezTo>
                <a:cubicBezTo>
                  <a:pt x="2205575" y="1"/>
                  <a:pt x="2131750" y="73826"/>
                  <a:pt x="2131750" y="164893"/>
                </a:cubicBezTo>
                <a:lnTo>
                  <a:pt x="2131750" y="1531495"/>
                </a:lnTo>
                <a:cubicBezTo>
                  <a:pt x="2131750" y="1622562"/>
                  <a:pt x="2205575" y="1696387"/>
                  <a:pt x="2296642" y="1696387"/>
                </a:cubicBezTo>
                <a:close/>
                <a:moveTo>
                  <a:pt x="370635" y="2242888"/>
                </a:moveTo>
                <a:lnTo>
                  <a:pt x="2640497" y="2242888"/>
                </a:lnTo>
                <a:cubicBezTo>
                  <a:pt x="2845193" y="2242888"/>
                  <a:pt x="3011132" y="2076949"/>
                  <a:pt x="3011132" y="1872253"/>
                </a:cubicBezTo>
                <a:lnTo>
                  <a:pt x="3011132" y="653116"/>
                </a:lnTo>
                <a:cubicBezTo>
                  <a:pt x="3011132" y="448420"/>
                  <a:pt x="2845193" y="282481"/>
                  <a:pt x="2640497" y="282481"/>
                </a:cubicBezTo>
                <a:lnTo>
                  <a:pt x="2630997" y="282481"/>
                </a:lnTo>
                <a:lnTo>
                  <a:pt x="2630997" y="397932"/>
                </a:lnTo>
                <a:lnTo>
                  <a:pt x="2635026" y="397932"/>
                </a:lnTo>
                <a:cubicBezTo>
                  <a:pt x="2777240" y="397932"/>
                  <a:pt x="2892528" y="513220"/>
                  <a:pt x="2892528" y="655434"/>
                </a:cubicBezTo>
                <a:lnTo>
                  <a:pt x="2892528" y="1869563"/>
                </a:lnTo>
                <a:cubicBezTo>
                  <a:pt x="2892528" y="2011777"/>
                  <a:pt x="2777240" y="2127065"/>
                  <a:pt x="2635026" y="2127065"/>
                </a:cubicBezTo>
                <a:lnTo>
                  <a:pt x="385364" y="2127065"/>
                </a:lnTo>
                <a:cubicBezTo>
                  <a:pt x="243150" y="2127065"/>
                  <a:pt x="127862" y="2011777"/>
                  <a:pt x="127862" y="1869563"/>
                </a:cubicBezTo>
                <a:lnTo>
                  <a:pt x="127862" y="655434"/>
                </a:lnTo>
                <a:cubicBezTo>
                  <a:pt x="127862" y="513220"/>
                  <a:pt x="243150" y="397932"/>
                  <a:pt x="385364" y="397932"/>
                </a:cubicBezTo>
                <a:lnTo>
                  <a:pt x="412220" y="397932"/>
                </a:lnTo>
                <a:lnTo>
                  <a:pt x="412220" y="282481"/>
                </a:lnTo>
                <a:lnTo>
                  <a:pt x="370635" y="282481"/>
                </a:lnTo>
                <a:cubicBezTo>
                  <a:pt x="165939" y="282481"/>
                  <a:pt x="0" y="448420"/>
                  <a:pt x="0" y="653116"/>
                </a:cubicBezTo>
                <a:lnTo>
                  <a:pt x="0" y="1872253"/>
                </a:lnTo>
                <a:cubicBezTo>
                  <a:pt x="0" y="2076949"/>
                  <a:pt x="165939" y="2242888"/>
                  <a:pt x="370635" y="2242888"/>
                </a:cubicBezTo>
                <a:close/>
              </a:path>
            </a:pathLst>
          </a:cu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pic>
        <p:nvPicPr>
          <p:cNvPr id="25" name="Picture 24" descr="A picture containing clock&#10;&#10;Description automatically generated">
            <a:extLst>
              <a:ext uri="{FF2B5EF4-FFF2-40B4-BE49-F238E27FC236}">
                <a16:creationId xmlns:a16="http://schemas.microsoft.com/office/drawing/2014/main" id="{0F9A94FF-A7A6-46D1-8CAF-A65108DFF416}"/>
              </a:ext>
            </a:extLst>
          </p:cNvPr>
          <p:cNvPicPr>
            <a:picLocks noChangeAspect="1"/>
          </p:cNvPicPr>
          <p:nvPr/>
        </p:nvPicPr>
        <p:blipFill>
          <a:blip r:embed="rId3"/>
          <a:stretch>
            <a:fillRect/>
          </a:stretch>
        </p:blipFill>
        <p:spPr>
          <a:xfrm>
            <a:off x="5776853" y="2871199"/>
            <a:ext cx="560860" cy="560860"/>
          </a:xfrm>
          <a:prstGeom prst="rect">
            <a:avLst/>
          </a:prstGeom>
        </p:spPr>
      </p:pic>
      <p:sp>
        <p:nvSpPr>
          <p:cNvPr id="26" name="TextBox 25">
            <a:extLst>
              <a:ext uri="{FF2B5EF4-FFF2-40B4-BE49-F238E27FC236}">
                <a16:creationId xmlns:a16="http://schemas.microsoft.com/office/drawing/2014/main" id="{97C019BA-59B7-4DBE-A2F7-F43F45903E22}"/>
              </a:ext>
            </a:extLst>
          </p:cNvPr>
          <p:cNvSpPr txBox="1"/>
          <p:nvPr/>
        </p:nvSpPr>
        <p:spPr>
          <a:xfrm>
            <a:off x="6396014" y="3001490"/>
            <a:ext cx="1958228" cy="3600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Azure Synapse Analytics</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SQL Pool)</a:t>
            </a:r>
          </a:p>
        </p:txBody>
      </p:sp>
      <p:sp>
        <p:nvSpPr>
          <p:cNvPr id="36" name="Rectangle 35">
            <a:extLst>
              <a:ext uri="{FF2B5EF4-FFF2-40B4-BE49-F238E27FC236}">
                <a16:creationId xmlns:a16="http://schemas.microsoft.com/office/drawing/2014/main" id="{29D01BA8-6D6B-4FCD-A308-FA27E2F65819}"/>
              </a:ext>
            </a:extLst>
          </p:cNvPr>
          <p:cNvSpPr>
            <a:spLocks noChangeArrowheads="1"/>
          </p:cNvSpPr>
          <p:nvPr/>
        </p:nvSpPr>
        <p:spPr bwMode="auto">
          <a:xfrm>
            <a:off x="3008048" y="2867476"/>
            <a:ext cx="50065" cy="50065"/>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64151D54-C3B9-4D75-8635-FC88C756C388}"/>
              </a:ext>
            </a:extLst>
          </p:cNvPr>
          <p:cNvSpPr txBox="1"/>
          <p:nvPr/>
        </p:nvSpPr>
        <p:spPr>
          <a:xfrm>
            <a:off x="3295543" y="2640942"/>
            <a:ext cx="1542217" cy="193899"/>
          </a:xfrm>
          <a:prstGeom prst="rect">
            <a:avLst/>
          </a:prstGeom>
          <a:noFill/>
        </p:spPr>
        <p:txBody>
          <a:bodyPr wrap="none" lIns="0" tIns="0" rIns="0" bIns="0" rtlCol="0">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zure Data Factory</a:t>
            </a:r>
          </a:p>
        </p:txBody>
      </p:sp>
      <p:sp>
        <p:nvSpPr>
          <p:cNvPr id="38" name="TextBox 37">
            <a:extLst>
              <a:ext uri="{FF2B5EF4-FFF2-40B4-BE49-F238E27FC236}">
                <a16:creationId xmlns:a16="http://schemas.microsoft.com/office/drawing/2014/main" id="{1B0A2455-EDA3-4441-B2AE-616BF13CFC43}"/>
              </a:ext>
            </a:extLst>
          </p:cNvPr>
          <p:cNvSpPr txBox="1"/>
          <p:nvPr/>
        </p:nvSpPr>
        <p:spPr>
          <a:xfrm>
            <a:off x="6337713" y="5578952"/>
            <a:ext cx="1989584" cy="1938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Azure Data Lake Storage</a:t>
            </a:r>
          </a:p>
        </p:txBody>
      </p:sp>
      <p:pic>
        <p:nvPicPr>
          <p:cNvPr id="39" name="Graphic 38">
            <a:extLst>
              <a:ext uri="{FF2B5EF4-FFF2-40B4-BE49-F238E27FC236}">
                <a16:creationId xmlns:a16="http://schemas.microsoft.com/office/drawing/2014/main" id="{833C9F23-5912-4CBC-9DF4-326BCF8DC4A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25170" y="2503351"/>
            <a:ext cx="443486" cy="443486"/>
          </a:xfrm>
          <a:prstGeom prst="rect">
            <a:avLst/>
          </a:prstGeom>
        </p:spPr>
      </p:pic>
      <p:pic>
        <p:nvPicPr>
          <p:cNvPr id="40" name="Graphic 39">
            <a:extLst>
              <a:ext uri="{FF2B5EF4-FFF2-40B4-BE49-F238E27FC236}">
                <a16:creationId xmlns:a16="http://schemas.microsoft.com/office/drawing/2014/main" id="{965B372B-0AD6-40AC-823C-973FA307627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52840" y="5430241"/>
            <a:ext cx="445863" cy="491319"/>
          </a:xfrm>
          <a:prstGeom prst="rect">
            <a:avLst/>
          </a:prstGeom>
        </p:spPr>
      </p:pic>
      <p:grpSp>
        <p:nvGrpSpPr>
          <p:cNvPr id="41" name="Group 40">
            <a:extLst>
              <a:ext uri="{FF2B5EF4-FFF2-40B4-BE49-F238E27FC236}">
                <a16:creationId xmlns:a16="http://schemas.microsoft.com/office/drawing/2014/main" id="{2AE1504C-FF34-4ACC-B234-1CFE0B903EDC}"/>
              </a:ext>
            </a:extLst>
          </p:cNvPr>
          <p:cNvGrpSpPr/>
          <p:nvPr/>
        </p:nvGrpSpPr>
        <p:grpSpPr>
          <a:xfrm>
            <a:off x="207550" y="5112913"/>
            <a:ext cx="427983" cy="364076"/>
            <a:chOff x="265316" y="5131089"/>
            <a:chExt cx="793593" cy="675092"/>
          </a:xfrm>
        </p:grpSpPr>
        <p:grpSp>
          <p:nvGrpSpPr>
            <p:cNvPr id="42" name="Group 41">
              <a:extLst>
                <a:ext uri="{FF2B5EF4-FFF2-40B4-BE49-F238E27FC236}">
                  <a16:creationId xmlns:a16="http://schemas.microsoft.com/office/drawing/2014/main" id="{27A019CF-9CC4-43F2-967D-D818B9B8B518}"/>
                </a:ext>
              </a:extLst>
            </p:cNvPr>
            <p:cNvGrpSpPr/>
            <p:nvPr/>
          </p:nvGrpSpPr>
          <p:grpSpPr>
            <a:xfrm>
              <a:off x="265316" y="5131089"/>
              <a:ext cx="793593" cy="675092"/>
              <a:chOff x="2107244" y="1575258"/>
              <a:chExt cx="310993" cy="264555"/>
            </a:xfrm>
          </p:grpSpPr>
          <p:sp>
            <p:nvSpPr>
              <p:cNvPr id="48" name="Rectangle 9">
                <a:extLst>
                  <a:ext uri="{FF2B5EF4-FFF2-40B4-BE49-F238E27FC236}">
                    <a16:creationId xmlns:a16="http://schemas.microsoft.com/office/drawing/2014/main" id="{8F5DBBF9-65FC-4EAA-9DB6-C7F0E4D91ADB}"/>
                  </a:ext>
                </a:extLst>
              </p:cNvPr>
              <p:cNvSpPr>
                <a:spLocks noChangeArrowheads="1"/>
              </p:cNvSpPr>
              <p:nvPr/>
            </p:nvSpPr>
            <p:spPr bwMode="auto">
              <a:xfrm>
                <a:off x="2107244" y="1575258"/>
                <a:ext cx="310993" cy="264555"/>
              </a:xfrm>
              <a:prstGeom prst="rect">
                <a:avLst/>
              </a:prstGeom>
              <a:solidFill>
                <a:srgbClr val="0078D7"/>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nvGrpSpPr>
              <p:cNvPr id="49" name="Group 48">
                <a:extLst>
                  <a:ext uri="{FF2B5EF4-FFF2-40B4-BE49-F238E27FC236}">
                    <a16:creationId xmlns:a16="http://schemas.microsoft.com/office/drawing/2014/main" id="{D09C5F55-D1A5-49B3-B8AF-DFD848BAF4C8}"/>
                  </a:ext>
                </a:extLst>
              </p:cNvPr>
              <p:cNvGrpSpPr/>
              <p:nvPr/>
            </p:nvGrpSpPr>
            <p:grpSpPr>
              <a:xfrm>
                <a:off x="2219774" y="1683758"/>
                <a:ext cx="104220" cy="99334"/>
                <a:chOff x="2219774" y="1683758"/>
                <a:chExt cx="104220" cy="99334"/>
              </a:xfrm>
            </p:grpSpPr>
            <p:sp>
              <p:nvSpPr>
                <p:cNvPr id="50" name="Freeform 14">
                  <a:extLst>
                    <a:ext uri="{FF2B5EF4-FFF2-40B4-BE49-F238E27FC236}">
                      <a16:creationId xmlns:a16="http://schemas.microsoft.com/office/drawing/2014/main" id="{8E48E1B5-0D24-4930-9A21-8C3D2F6DE9DB}"/>
                    </a:ext>
                  </a:extLst>
                </p:cNvPr>
                <p:cNvSpPr>
                  <a:spLocks/>
                </p:cNvSpPr>
                <p:nvPr/>
              </p:nvSpPr>
              <p:spPr bwMode="auto">
                <a:xfrm>
                  <a:off x="2219774" y="1683758"/>
                  <a:ext cx="104220" cy="98089"/>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solidFill>
                  <a:srgbClr val="50E6F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51" name="Line 15">
                  <a:extLst>
                    <a:ext uri="{FF2B5EF4-FFF2-40B4-BE49-F238E27FC236}">
                      <a16:creationId xmlns:a16="http://schemas.microsoft.com/office/drawing/2014/main" id="{9356A958-A444-4D5B-A92E-50A3C4A6C8F8}"/>
                    </a:ext>
                  </a:extLst>
                </p:cNvPr>
                <p:cNvSpPr>
                  <a:spLocks noChangeShapeType="1"/>
                </p:cNvSpPr>
                <p:nvPr/>
              </p:nvSpPr>
              <p:spPr bwMode="auto">
                <a:xfrm>
                  <a:off x="2269956" y="1743244"/>
                  <a:ext cx="0" cy="39848"/>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43" name="Rectangle 42">
              <a:extLst>
                <a:ext uri="{FF2B5EF4-FFF2-40B4-BE49-F238E27FC236}">
                  <a16:creationId xmlns:a16="http://schemas.microsoft.com/office/drawing/2014/main" id="{885B4E77-8C9F-4C03-8C8C-4C62BA199232}"/>
                </a:ext>
              </a:extLst>
            </p:cNvPr>
            <p:cNvSpPr/>
            <p:nvPr/>
          </p:nvSpPr>
          <p:spPr bwMode="auto">
            <a:xfrm>
              <a:off x="265317" y="5135133"/>
              <a:ext cx="788838" cy="121362"/>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44" name="Group 43">
              <a:extLst>
                <a:ext uri="{FF2B5EF4-FFF2-40B4-BE49-F238E27FC236}">
                  <a16:creationId xmlns:a16="http://schemas.microsoft.com/office/drawing/2014/main" id="{C3D90F0C-7BA2-4BEE-8491-C9344D0D79F9}"/>
                </a:ext>
              </a:extLst>
            </p:cNvPr>
            <p:cNvGrpSpPr/>
            <p:nvPr/>
          </p:nvGrpSpPr>
          <p:grpSpPr>
            <a:xfrm>
              <a:off x="750755" y="5171384"/>
              <a:ext cx="242719" cy="60681"/>
              <a:chOff x="722201" y="5189927"/>
              <a:chExt cx="242719" cy="60681"/>
            </a:xfrm>
          </p:grpSpPr>
          <p:sp>
            <p:nvSpPr>
              <p:cNvPr id="45" name="Oval 11">
                <a:extLst>
                  <a:ext uri="{FF2B5EF4-FFF2-40B4-BE49-F238E27FC236}">
                    <a16:creationId xmlns:a16="http://schemas.microsoft.com/office/drawing/2014/main" id="{692FAD47-FE31-4F73-A324-D8DAF9759341}"/>
                  </a:ext>
                </a:extLst>
              </p:cNvPr>
              <p:cNvSpPr>
                <a:spLocks noChangeArrowheads="1"/>
              </p:cNvSpPr>
              <p:nvPr/>
            </p:nvSpPr>
            <p:spPr bwMode="auto">
              <a:xfrm>
                <a:off x="722201"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6" name="Oval 12">
                <a:extLst>
                  <a:ext uri="{FF2B5EF4-FFF2-40B4-BE49-F238E27FC236}">
                    <a16:creationId xmlns:a16="http://schemas.microsoft.com/office/drawing/2014/main" id="{D2FBDD74-5879-4DE6-9640-3507C92C6888}"/>
                  </a:ext>
                </a:extLst>
              </p:cNvPr>
              <p:cNvSpPr>
                <a:spLocks noChangeArrowheads="1"/>
              </p:cNvSpPr>
              <p:nvPr/>
            </p:nvSpPr>
            <p:spPr bwMode="auto">
              <a:xfrm>
                <a:off x="811435"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47" name="Oval 13">
                <a:extLst>
                  <a:ext uri="{FF2B5EF4-FFF2-40B4-BE49-F238E27FC236}">
                    <a16:creationId xmlns:a16="http://schemas.microsoft.com/office/drawing/2014/main" id="{BB206F67-9B78-4CD4-A838-29A94916F577}"/>
                  </a:ext>
                </a:extLst>
              </p:cNvPr>
              <p:cNvSpPr>
                <a:spLocks noChangeArrowheads="1"/>
              </p:cNvSpPr>
              <p:nvPr/>
            </p:nvSpPr>
            <p:spPr bwMode="auto">
              <a:xfrm>
                <a:off x="904239" y="5189927"/>
                <a:ext cx="60681" cy="60681"/>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grpSp>
      </p:grpSp>
      <p:grpSp>
        <p:nvGrpSpPr>
          <p:cNvPr id="52" name="Group 51">
            <a:extLst>
              <a:ext uri="{FF2B5EF4-FFF2-40B4-BE49-F238E27FC236}">
                <a16:creationId xmlns:a16="http://schemas.microsoft.com/office/drawing/2014/main" id="{47F276E2-C814-49C4-BC6B-9B6C1F6543E4}"/>
              </a:ext>
            </a:extLst>
          </p:cNvPr>
          <p:cNvGrpSpPr/>
          <p:nvPr/>
        </p:nvGrpSpPr>
        <p:grpSpPr>
          <a:xfrm>
            <a:off x="209709" y="3456957"/>
            <a:ext cx="423664" cy="435948"/>
            <a:chOff x="425774" y="3428914"/>
            <a:chExt cx="423664" cy="435948"/>
          </a:xfrm>
        </p:grpSpPr>
        <p:sp>
          <p:nvSpPr>
            <p:cNvPr id="53" name="Rectangle 52">
              <a:extLst>
                <a:ext uri="{FF2B5EF4-FFF2-40B4-BE49-F238E27FC236}">
                  <a16:creationId xmlns:a16="http://schemas.microsoft.com/office/drawing/2014/main" id="{FF7D16FF-1F71-499A-BCC5-9146AB5AB958}"/>
                </a:ext>
              </a:extLst>
            </p:cNvPr>
            <p:cNvSpPr/>
            <p:nvPr/>
          </p:nvSpPr>
          <p:spPr bwMode="auto">
            <a:xfrm>
              <a:off x="425774" y="3428914"/>
              <a:ext cx="376317" cy="374604"/>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54" name="Group 59">
              <a:extLst>
                <a:ext uri="{FF2B5EF4-FFF2-40B4-BE49-F238E27FC236}">
                  <a16:creationId xmlns:a16="http://schemas.microsoft.com/office/drawing/2014/main" id="{B6382F74-0034-4E34-822D-9C28AC9F3B46}"/>
                </a:ext>
              </a:extLst>
            </p:cNvPr>
            <p:cNvGrpSpPr>
              <a:grpSpLocks noChangeAspect="1"/>
            </p:cNvGrpSpPr>
            <p:nvPr/>
          </p:nvGrpSpPr>
          <p:grpSpPr bwMode="auto">
            <a:xfrm>
              <a:off x="492356" y="3507780"/>
              <a:ext cx="357082" cy="357082"/>
              <a:chOff x="4013" y="2783"/>
              <a:chExt cx="312" cy="312"/>
            </a:xfrm>
          </p:grpSpPr>
          <p:sp>
            <p:nvSpPr>
              <p:cNvPr id="55" name="AutoShape 58">
                <a:extLst>
                  <a:ext uri="{FF2B5EF4-FFF2-40B4-BE49-F238E27FC236}">
                    <a16:creationId xmlns:a16="http://schemas.microsoft.com/office/drawing/2014/main" id="{2EB4FFCA-144F-4EDC-85D9-319A2C4D97BA}"/>
                  </a:ext>
                </a:extLst>
              </p:cNvPr>
              <p:cNvSpPr>
                <a:spLocks noChangeAspect="1" noChangeArrowheads="1" noTextEdit="1"/>
              </p:cNvSpPr>
              <p:nvPr/>
            </p:nvSpPr>
            <p:spPr bwMode="auto">
              <a:xfrm>
                <a:off x="4013" y="278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6" name="Rectangle 60">
                <a:extLst>
                  <a:ext uri="{FF2B5EF4-FFF2-40B4-BE49-F238E27FC236}">
                    <a16:creationId xmlns:a16="http://schemas.microsoft.com/office/drawing/2014/main" id="{A1B15CC0-5885-46D1-B134-0E1D3C0921E6}"/>
                  </a:ext>
                </a:extLst>
              </p:cNvPr>
              <p:cNvSpPr>
                <a:spLocks noChangeArrowheads="1"/>
              </p:cNvSpPr>
              <p:nvPr/>
            </p:nvSpPr>
            <p:spPr bwMode="auto">
              <a:xfrm>
                <a:off x="4013" y="2784"/>
                <a:ext cx="312" cy="31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7" name="Rectangle 61">
                <a:extLst>
                  <a:ext uri="{FF2B5EF4-FFF2-40B4-BE49-F238E27FC236}">
                    <a16:creationId xmlns:a16="http://schemas.microsoft.com/office/drawing/2014/main" id="{8D4E0421-98C6-413B-A7F9-CAF6F32C72F6}"/>
                  </a:ext>
                </a:extLst>
              </p:cNvPr>
              <p:cNvSpPr>
                <a:spLocks noChangeArrowheads="1"/>
              </p:cNvSpPr>
              <p:nvPr/>
            </p:nvSpPr>
            <p:spPr bwMode="auto">
              <a:xfrm>
                <a:off x="4013" y="2783"/>
                <a:ext cx="312" cy="31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8" name="Freeform 62">
                <a:extLst>
                  <a:ext uri="{FF2B5EF4-FFF2-40B4-BE49-F238E27FC236}">
                    <a16:creationId xmlns:a16="http://schemas.microsoft.com/office/drawing/2014/main" id="{104DC277-DF52-4BFB-9690-6ED28E1E8D48}"/>
                  </a:ext>
                </a:extLst>
              </p:cNvPr>
              <p:cNvSpPr>
                <a:spLocks/>
              </p:cNvSpPr>
              <p:nvPr/>
            </p:nvSpPr>
            <p:spPr bwMode="auto">
              <a:xfrm>
                <a:off x="4013" y="2900"/>
                <a:ext cx="312" cy="195"/>
              </a:xfrm>
              <a:custGeom>
                <a:avLst/>
                <a:gdLst>
                  <a:gd name="T0" fmla="*/ 263 w 312"/>
                  <a:gd name="T1" fmla="*/ 78 h 195"/>
                  <a:gd name="T2" fmla="*/ 214 w 312"/>
                  <a:gd name="T3" fmla="*/ 127 h 195"/>
                  <a:gd name="T4" fmla="*/ 88 w 312"/>
                  <a:gd name="T5" fmla="*/ 0 h 195"/>
                  <a:gd name="T6" fmla="*/ 0 w 312"/>
                  <a:gd name="T7" fmla="*/ 88 h 195"/>
                  <a:gd name="T8" fmla="*/ 0 w 312"/>
                  <a:gd name="T9" fmla="*/ 195 h 195"/>
                  <a:gd name="T10" fmla="*/ 88 w 312"/>
                  <a:gd name="T11" fmla="*/ 195 h 195"/>
                  <a:gd name="T12" fmla="*/ 146 w 312"/>
                  <a:gd name="T13" fmla="*/ 195 h 195"/>
                  <a:gd name="T14" fmla="*/ 263 w 312"/>
                  <a:gd name="T15" fmla="*/ 195 h 195"/>
                  <a:gd name="T16" fmla="*/ 282 w 312"/>
                  <a:gd name="T17" fmla="*/ 195 h 195"/>
                  <a:gd name="T18" fmla="*/ 312 w 312"/>
                  <a:gd name="T19" fmla="*/ 195 h 195"/>
                  <a:gd name="T20" fmla="*/ 312 w 312"/>
                  <a:gd name="T21" fmla="*/ 126 h 195"/>
                  <a:gd name="T22" fmla="*/ 263 w 312"/>
                  <a:gd name="T23" fmla="*/ 7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2" h="195">
                    <a:moveTo>
                      <a:pt x="263" y="78"/>
                    </a:moveTo>
                    <a:lnTo>
                      <a:pt x="214" y="127"/>
                    </a:lnTo>
                    <a:lnTo>
                      <a:pt x="88" y="0"/>
                    </a:lnTo>
                    <a:lnTo>
                      <a:pt x="0" y="88"/>
                    </a:lnTo>
                    <a:lnTo>
                      <a:pt x="0" y="195"/>
                    </a:lnTo>
                    <a:lnTo>
                      <a:pt x="88" y="195"/>
                    </a:lnTo>
                    <a:lnTo>
                      <a:pt x="146" y="195"/>
                    </a:lnTo>
                    <a:lnTo>
                      <a:pt x="263" y="195"/>
                    </a:lnTo>
                    <a:lnTo>
                      <a:pt x="282" y="195"/>
                    </a:lnTo>
                    <a:lnTo>
                      <a:pt x="312" y="195"/>
                    </a:lnTo>
                    <a:lnTo>
                      <a:pt x="312" y="126"/>
                    </a:lnTo>
                    <a:lnTo>
                      <a:pt x="263" y="7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59" name="Oval 63">
                <a:extLst>
                  <a:ext uri="{FF2B5EF4-FFF2-40B4-BE49-F238E27FC236}">
                    <a16:creationId xmlns:a16="http://schemas.microsoft.com/office/drawing/2014/main" id="{CBC82CEB-02E8-4137-A555-843B07E8F4AC}"/>
                  </a:ext>
                </a:extLst>
              </p:cNvPr>
              <p:cNvSpPr>
                <a:spLocks noChangeArrowheads="1"/>
              </p:cNvSpPr>
              <p:nvPr/>
            </p:nvSpPr>
            <p:spPr bwMode="auto">
              <a:xfrm>
                <a:off x="4198" y="2822"/>
                <a:ext cx="88" cy="88"/>
              </a:xfrm>
              <a:prstGeom prst="ellipse">
                <a:avLst/>
              </a:prstGeom>
              <a:solidFill>
                <a:srgbClr val="F4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grpSp>
      </p:grpSp>
      <p:grpSp>
        <p:nvGrpSpPr>
          <p:cNvPr id="60" name="Group 59">
            <a:extLst>
              <a:ext uri="{FF2B5EF4-FFF2-40B4-BE49-F238E27FC236}">
                <a16:creationId xmlns:a16="http://schemas.microsoft.com/office/drawing/2014/main" id="{DFEC91B7-9E05-4645-9D5C-7998239A782E}"/>
              </a:ext>
            </a:extLst>
          </p:cNvPr>
          <p:cNvGrpSpPr/>
          <p:nvPr/>
        </p:nvGrpSpPr>
        <p:grpSpPr>
          <a:xfrm>
            <a:off x="227434" y="4301607"/>
            <a:ext cx="388214" cy="427711"/>
            <a:chOff x="343593" y="4433674"/>
            <a:chExt cx="388214" cy="427711"/>
          </a:xfrm>
        </p:grpSpPr>
        <p:sp>
          <p:nvSpPr>
            <p:cNvPr id="61" name="Rectangle 60">
              <a:extLst>
                <a:ext uri="{FF2B5EF4-FFF2-40B4-BE49-F238E27FC236}">
                  <a16:creationId xmlns:a16="http://schemas.microsoft.com/office/drawing/2014/main" id="{EC512A96-545F-45EF-9798-FD38A9FFA4C5}"/>
                </a:ext>
              </a:extLst>
            </p:cNvPr>
            <p:cNvSpPr/>
            <p:nvPr/>
          </p:nvSpPr>
          <p:spPr bwMode="auto">
            <a:xfrm>
              <a:off x="343593" y="4433674"/>
              <a:ext cx="262069" cy="364075"/>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2" name="document">
              <a:extLst>
                <a:ext uri="{FF2B5EF4-FFF2-40B4-BE49-F238E27FC236}">
                  <a16:creationId xmlns:a16="http://schemas.microsoft.com/office/drawing/2014/main" id="{2990D7DE-9A79-44E3-9EE2-F7D7D9E0F446}"/>
                </a:ext>
              </a:extLst>
            </p:cNvPr>
            <p:cNvSpPr>
              <a:spLocks noChangeAspect="1" noEditPoints="1"/>
            </p:cNvSpPr>
            <p:nvPr/>
          </p:nvSpPr>
          <p:spPr bwMode="auto">
            <a:xfrm>
              <a:off x="469738" y="4503224"/>
              <a:ext cx="262069" cy="358161"/>
            </a:xfrm>
            <a:custGeom>
              <a:avLst/>
              <a:gdLst>
                <a:gd name="T0" fmla="*/ 48 w 180"/>
                <a:gd name="T1" fmla="*/ 0 h 246"/>
                <a:gd name="T2" fmla="*/ 97 w 180"/>
                <a:gd name="T3" fmla="*/ 0 h 246"/>
                <a:gd name="T4" fmla="*/ 180 w 180"/>
                <a:gd name="T5" fmla="*/ 82 h 246"/>
                <a:gd name="T6" fmla="*/ 180 w 180"/>
                <a:gd name="T7" fmla="*/ 246 h 246"/>
                <a:gd name="T8" fmla="*/ 0 w 180"/>
                <a:gd name="T9" fmla="*/ 246 h 246"/>
                <a:gd name="T10" fmla="*/ 0 w 180"/>
                <a:gd name="T11" fmla="*/ 0 h 246"/>
                <a:gd name="T12" fmla="*/ 48 w 180"/>
                <a:gd name="T13" fmla="*/ 0 h 246"/>
                <a:gd name="T14" fmla="*/ 97 w 180"/>
                <a:gd name="T15" fmla="*/ 0 h 246"/>
                <a:gd name="T16" fmla="*/ 97 w 180"/>
                <a:gd name="T17" fmla="*/ 82 h 246"/>
                <a:gd name="T18" fmla="*/ 180 w 180"/>
                <a:gd name="T19" fmla="*/ 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246">
                  <a:moveTo>
                    <a:pt x="48" y="0"/>
                  </a:moveTo>
                  <a:lnTo>
                    <a:pt x="97" y="0"/>
                  </a:lnTo>
                  <a:lnTo>
                    <a:pt x="180" y="82"/>
                  </a:lnTo>
                  <a:lnTo>
                    <a:pt x="180" y="246"/>
                  </a:lnTo>
                  <a:lnTo>
                    <a:pt x="0" y="246"/>
                  </a:lnTo>
                  <a:lnTo>
                    <a:pt x="0" y="0"/>
                  </a:lnTo>
                  <a:lnTo>
                    <a:pt x="48" y="0"/>
                  </a:lnTo>
                  <a:moveTo>
                    <a:pt x="97" y="0"/>
                  </a:moveTo>
                  <a:lnTo>
                    <a:pt x="97" y="82"/>
                  </a:lnTo>
                  <a:lnTo>
                    <a:pt x="180" y="82"/>
                  </a:lnTo>
                </a:path>
              </a:pathLst>
            </a:custGeom>
            <a:solidFill>
              <a:srgbClr val="0078D7"/>
            </a:solidFill>
            <a:ln w="15875"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grpSp>
      <p:grpSp>
        <p:nvGrpSpPr>
          <p:cNvPr id="63" name="Group 62">
            <a:extLst>
              <a:ext uri="{FF2B5EF4-FFF2-40B4-BE49-F238E27FC236}">
                <a16:creationId xmlns:a16="http://schemas.microsoft.com/office/drawing/2014/main" id="{58C0156C-D59F-4239-9746-F12401BD8B28}"/>
              </a:ext>
            </a:extLst>
          </p:cNvPr>
          <p:cNvGrpSpPr/>
          <p:nvPr/>
        </p:nvGrpSpPr>
        <p:grpSpPr>
          <a:xfrm>
            <a:off x="264326" y="2673454"/>
            <a:ext cx="314430" cy="364076"/>
            <a:chOff x="305587" y="2721796"/>
            <a:chExt cx="314430" cy="364076"/>
          </a:xfrm>
        </p:grpSpPr>
        <p:sp>
          <p:nvSpPr>
            <p:cNvPr id="64" name="Rectangle 63">
              <a:extLst>
                <a:ext uri="{FF2B5EF4-FFF2-40B4-BE49-F238E27FC236}">
                  <a16:creationId xmlns:a16="http://schemas.microsoft.com/office/drawing/2014/main" id="{DF406987-EC2D-4FC4-A4AC-A7F2AA63526C}"/>
                </a:ext>
              </a:extLst>
            </p:cNvPr>
            <p:cNvSpPr/>
            <p:nvPr/>
          </p:nvSpPr>
          <p:spPr bwMode="auto">
            <a:xfrm>
              <a:off x="381000" y="2986460"/>
              <a:ext cx="187325" cy="9623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5" name="document_3">
              <a:extLst>
                <a:ext uri="{FF2B5EF4-FFF2-40B4-BE49-F238E27FC236}">
                  <a16:creationId xmlns:a16="http://schemas.microsoft.com/office/drawing/2014/main" id="{474ED08B-1325-4BB1-A0FB-3AE4AD1818B8}"/>
                </a:ext>
              </a:extLst>
            </p:cNvPr>
            <p:cNvSpPr>
              <a:spLocks noChangeAspect="1" noEditPoints="1"/>
            </p:cNvSpPr>
            <p:nvPr/>
          </p:nvSpPr>
          <p:spPr bwMode="auto">
            <a:xfrm>
              <a:off x="305587" y="2721796"/>
              <a:ext cx="314430" cy="364076"/>
            </a:xfrm>
            <a:custGeom>
              <a:avLst/>
              <a:gdLst>
                <a:gd name="T0" fmla="*/ 54 w 288"/>
                <a:gd name="T1" fmla="*/ 334 h 334"/>
                <a:gd name="T2" fmla="*/ 237 w 288"/>
                <a:gd name="T3" fmla="*/ 334 h 334"/>
                <a:gd name="T4" fmla="*/ 288 w 288"/>
                <a:gd name="T5" fmla="*/ 283 h 334"/>
                <a:gd name="T6" fmla="*/ 102 w 288"/>
                <a:gd name="T7" fmla="*/ 283 h 334"/>
                <a:gd name="T8" fmla="*/ 51 w 288"/>
                <a:gd name="T9" fmla="*/ 334 h 334"/>
                <a:gd name="T10" fmla="*/ 0 w 288"/>
                <a:gd name="T11" fmla="*/ 283 h 334"/>
                <a:gd name="T12" fmla="*/ 0 w 288"/>
                <a:gd name="T13" fmla="*/ 0 h 334"/>
                <a:gd name="T14" fmla="*/ 256 w 288"/>
                <a:gd name="T15" fmla="*/ 0 h 334"/>
                <a:gd name="T16" fmla="*/ 256 w 288"/>
                <a:gd name="T17" fmla="*/ 282 h 334"/>
                <a:gd name="T18" fmla="*/ 90 w 288"/>
                <a:gd name="T19" fmla="*/ 76 h 334"/>
                <a:gd name="T20" fmla="*/ 220 w 288"/>
                <a:gd name="T21" fmla="*/ 76 h 334"/>
                <a:gd name="T22" fmla="*/ 38 w 288"/>
                <a:gd name="T23" fmla="*/ 76 h 334"/>
                <a:gd name="T24" fmla="*/ 64 w 288"/>
                <a:gd name="T25" fmla="*/ 76 h 334"/>
                <a:gd name="T26" fmla="*/ 90 w 288"/>
                <a:gd name="T27" fmla="*/ 153 h 334"/>
                <a:gd name="T28" fmla="*/ 220 w 288"/>
                <a:gd name="T29" fmla="*/ 153 h 334"/>
                <a:gd name="T30" fmla="*/ 38 w 288"/>
                <a:gd name="T31" fmla="*/ 153 h 334"/>
                <a:gd name="T32" fmla="*/ 64 w 288"/>
                <a:gd name="T33" fmla="*/ 153 h 334"/>
                <a:gd name="T34" fmla="*/ 90 w 288"/>
                <a:gd name="T35" fmla="*/ 230 h 334"/>
                <a:gd name="T36" fmla="*/ 220 w 288"/>
                <a:gd name="T37" fmla="*/ 230 h 334"/>
                <a:gd name="T38" fmla="*/ 38 w 288"/>
                <a:gd name="T39" fmla="*/ 230 h 334"/>
                <a:gd name="T40" fmla="*/ 64 w 288"/>
                <a:gd name="T41" fmla="*/ 2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334">
                  <a:moveTo>
                    <a:pt x="54" y="334"/>
                  </a:moveTo>
                  <a:cubicBezTo>
                    <a:pt x="237" y="334"/>
                    <a:pt x="237" y="334"/>
                    <a:pt x="237" y="334"/>
                  </a:cubicBezTo>
                  <a:cubicBezTo>
                    <a:pt x="265" y="334"/>
                    <a:pt x="288" y="311"/>
                    <a:pt x="288" y="283"/>
                  </a:cubicBezTo>
                  <a:cubicBezTo>
                    <a:pt x="102" y="283"/>
                    <a:pt x="102" y="283"/>
                    <a:pt x="102" y="283"/>
                  </a:cubicBezTo>
                  <a:cubicBezTo>
                    <a:pt x="102" y="311"/>
                    <a:pt x="79" y="334"/>
                    <a:pt x="51" y="334"/>
                  </a:cubicBezTo>
                  <a:cubicBezTo>
                    <a:pt x="23" y="334"/>
                    <a:pt x="0" y="311"/>
                    <a:pt x="0" y="283"/>
                  </a:cubicBezTo>
                  <a:cubicBezTo>
                    <a:pt x="0" y="0"/>
                    <a:pt x="0" y="0"/>
                    <a:pt x="0" y="0"/>
                  </a:cubicBezTo>
                  <a:cubicBezTo>
                    <a:pt x="256" y="0"/>
                    <a:pt x="256" y="0"/>
                    <a:pt x="256" y="0"/>
                  </a:cubicBezTo>
                  <a:cubicBezTo>
                    <a:pt x="256" y="282"/>
                    <a:pt x="256" y="282"/>
                    <a:pt x="256" y="282"/>
                  </a:cubicBezTo>
                  <a:moveTo>
                    <a:pt x="90" y="76"/>
                  </a:moveTo>
                  <a:cubicBezTo>
                    <a:pt x="220" y="76"/>
                    <a:pt x="220" y="76"/>
                    <a:pt x="220" y="76"/>
                  </a:cubicBezTo>
                  <a:moveTo>
                    <a:pt x="38" y="76"/>
                  </a:moveTo>
                  <a:cubicBezTo>
                    <a:pt x="64" y="76"/>
                    <a:pt x="64" y="76"/>
                    <a:pt x="64" y="76"/>
                  </a:cubicBezTo>
                  <a:moveTo>
                    <a:pt x="90" y="153"/>
                  </a:moveTo>
                  <a:cubicBezTo>
                    <a:pt x="220" y="153"/>
                    <a:pt x="220" y="153"/>
                    <a:pt x="220" y="153"/>
                  </a:cubicBezTo>
                  <a:moveTo>
                    <a:pt x="38" y="153"/>
                  </a:moveTo>
                  <a:cubicBezTo>
                    <a:pt x="64" y="153"/>
                    <a:pt x="64" y="153"/>
                    <a:pt x="64" y="153"/>
                  </a:cubicBezTo>
                  <a:moveTo>
                    <a:pt x="90" y="230"/>
                  </a:moveTo>
                  <a:cubicBezTo>
                    <a:pt x="220" y="230"/>
                    <a:pt x="220" y="230"/>
                    <a:pt x="220" y="230"/>
                  </a:cubicBezTo>
                  <a:moveTo>
                    <a:pt x="38" y="230"/>
                  </a:moveTo>
                  <a:cubicBezTo>
                    <a:pt x="64" y="230"/>
                    <a:pt x="64" y="230"/>
                    <a:pt x="64" y="230"/>
                  </a:cubicBezTo>
                </a:path>
              </a:pathLst>
            </a:custGeom>
            <a:solidFill>
              <a:srgbClr val="0078D7"/>
            </a:solidFill>
            <a:ln w="1270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Semilight"/>
                <a:ea typeface="+mn-ea"/>
                <a:cs typeface="+mn-cs"/>
              </a:endParaRPr>
            </a:p>
          </p:txBody>
        </p:sp>
      </p:grpSp>
      <p:sp>
        <p:nvSpPr>
          <p:cNvPr id="76" name="TextBox 75">
            <a:extLst>
              <a:ext uri="{FF2B5EF4-FFF2-40B4-BE49-F238E27FC236}">
                <a16:creationId xmlns:a16="http://schemas.microsoft.com/office/drawing/2014/main" id="{4E07375F-B33B-4A1F-8E90-68DE030CC018}"/>
              </a:ext>
            </a:extLst>
          </p:cNvPr>
          <p:cNvSpPr txBox="1"/>
          <p:nvPr/>
        </p:nvSpPr>
        <p:spPr>
          <a:xfrm>
            <a:off x="3272096" y="4175131"/>
            <a:ext cx="1701948" cy="123111"/>
          </a:xfrm>
          <a:prstGeom prst="rect">
            <a:avLst/>
          </a:prstGeom>
          <a:noFill/>
        </p:spPr>
        <p:txBody>
          <a:bodyPr wrap="square" lIns="0" tIns="0" rIns="0" bIns="0" rtlCol="0" anchor="ctr" anchorCtr="0">
            <a:spAutoFit/>
          </a:bodyPr>
          <a:lstStyle>
            <a:defPPr>
              <a:defRPr lang="en-US"/>
            </a:defPPr>
            <a:lvl1pPr marR="0" lvl="0" indent="0" defTabSz="914367" fontAlgn="auto">
              <a:lnSpc>
                <a:spcPct val="100000"/>
              </a:lnSpc>
              <a:spcBef>
                <a:spcPts val="0"/>
              </a:spcBef>
              <a:spcAft>
                <a:spcPts val="0"/>
              </a:spcAft>
              <a:buClrTx/>
              <a:buSzTx/>
              <a:buFontTx/>
              <a:buNone/>
              <a:tabLst/>
              <a:defRPr kumimoji="0" sz="1000" b="1" u="none" strike="noStrike" cap="none" spc="0" normalizeH="0" baseline="0">
                <a:ln>
                  <a:noFill/>
                </a:ln>
                <a:gradFill>
                  <a:gsLst>
                    <a:gs pos="2917">
                      <a:srgbClr val="1A1A1A"/>
                    </a:gs>
                    <a:gs pos="30000">
                      <a:srgbClr val="1A1A1A"/>
                    </a:gs>
                  </a:gsLst>
                  <a:lin ang="5400000" scaled="0"/>
                </a:gradFill>
                <a:effectLst/>
                <a:uLnTx/>
                <a:uFillTx/>
                <a:latin typeface="Segoe UI Semibold" panose="020B0502040204020203" pitchFamily="34" charset="0"/>
                <a:cs typeface="Segoe UI Semibold" panose="020B0502040204020203" pitchFamily="34" charset="0"/>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Up to 10x faster than vanilla Spark</a:t>
            </a:r>
          </a:p>
        </p:txBody>
      </p:sp>
      <p:sp>
        <p:nvSpPr>
          <p:cNvPr id="77" name="TextBox 76">
            <a:extLst>
              <a:ext uri="{FF2B5EF4-FFF2-40B4-BE49-F238E27FC236}">
                <a16:creationId xmlns:a16="http://schemas.microsoft.com/office/drawing/2014/main" id="{5F107AD1-0F9F-40F7-9F6D-CC62DC775D57}"/>
              </a:ext>
            </a:extLst>
          </p:cNvPr>
          <p:cNvSpPr txBox="1"/>
          <p:nvPr/>
        </p:nvSpPr>
        <p:spPr>
          <a:xfrm>
            <a:off x="3239699" y="3808213"/>
            <a:ext cx="1372171" cy="360099"/>
          </a:xfrm>
          <a:prstGeom prst="rect">
            <a:avLst/>
          </a:prstGeom>
          <a:noFill/>
        </p:spPr>
        <p:txBody>
          <a:bodyPr wrap="none" lIns="0" tIns="0" rIns="0" bIns="0" rtlCol="0">
            <a:spAutoFit/>
          </a:bodyPr>
          <a:lstStyle>
            <a:defPPr>
              <a:defRPr lang="en-US"/>
            </a:defPPr>
            <a:lvl1pPr marR="0" lvl="0" indent="0" defTabSz="914367" fontAlgn="auto">
              <a:lnSpc>
                <a:spcPct val="90000"/>
              </a:lnSpc>
              <a:spcBef>
                <a:spcPts val="0"/>
              </a:spcBef>
              <a:spcAft>
                <a:spcPts val="0"/>
              </a:spcAft>
              <a:buClrTx/>
              <a:buSzTx/>
              <a:buFontTx/>
              <a:buNone/>
              <a:tabLst/>
              <a:defRPr kumimoji="0" sz="1400" b="0" i="0" u="none" strike="noStrike" cap="none" spc="0" normalizeH="0" baseline="0">
                <a:ln>
                  <a:noFill/>
                </a:ln>
                <a:solidFill>
                  <a:srgbClr val="D2D2D2"/>
                </a:solidFill>
                <a:effectLst/>
                <a:uLnTx/>
                <a:uFillTx/>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mn-cs"/>
              </a:rPr>
              <a:t>Azure Databricks</a:t>
            </a:r>
          </a:p>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 prep)</a:t>
            </a:r>
          </a:p>
        </p:txBody>
      </p:sp>
      <p:grpSp>
        <p:nvGrpSpPr>
          <p:cNvPr id="78" name="Group 4">
            <a:extLst>
              <a:ext uri="{FF2B5EF4-FFF2-40B4-BE49-F238E27FC236}">
                <a16:creationId xmlns:a16="http://schemas.microsoft.com/office/drawing/2014/main" id="{3DF22C31-707F-4B1C-B1A7-2209430C5701}"/>
              </a:ext>
            </a:extLst>
          </p:cNvPr>
          <p:cNvGrpSpPr>
            <a:grpSpLocks noChangeAspect="1"/>
          </p:cNvGrpSpPr>
          <p:nvPr/>
        </p:nvGrpSpPr>
        <p:grpSpPr bwMode="auto">
          <a:xfrm>
            <a:off x="2708334" y="3790409"/>
            <a:ext cx="417512" cy="476250"/>
            <a:chOff x="1937" y="2617"/>
            <a:chExt cx="263" cy="300"/>
          </a:xfrm>
        </p:grpSpPr>
        <p:sp>
          <p:nvSpPr>
            <p:cNvPr id="79" name="AutoShape 3">
              <a:extLst>
                <a:ext uri="{FF2B5EF4-FFF2-40B4-BE49-F238E27FC236}">
                  <a16:creationId xmlns:a16="http://schemas.microsoft.com/office/drawing/2014/main" id="{8FA4AB32-7446-472E-B378-711B9CDF33C1}"/>
                </a:ext>
              </a:extLst>
            </p:cNvPr>
            <p:cNvSpPr>
              <a:spLocks noChangeAspect="1" noChangeArrowheads="1" noTextEdit="1"/>
            </p:cNvSpPr>
            <p:nvPr/>
          </p:nvSpPr>
          <p:spPr bwMode="auto">
            <a:xfrm>
              <a:off x="1937" y="2617"/>
              <a:ext cx="263" cy="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5">
              <a:extLst>
                <a:ext uri="{FF2B5EF4-FFF2-40B4-BE49-F238E27FC236}">
                  <a16:creationId xmlns:a16="http://schemas.microsoft.com/office/drawing/2014/main" id="{EF32FD26-D515-41CA-BF42-1D444C1AD858}"/>
                </a:ext>
              </a:extLst>
            </p:cNvPr>
            <p:cNvSpPr>
              <a:spLocks/>
            </p:cNvSpPr>
            <p:nvPr/>
          </p:nvSpPr>
          <p:spPr bwMode="auto">
            <a:xfrm>
              <a:off x="1937" y="2792"/>
              <a:ext cx="265" cy="125"/>
            </a:xfrm>
            <a:custGeom>
              <a:avLst/>
              <a:gdLst>
                <a:gd name="T0" fmla="*/ 0 w 265"/>
                <a:gd name="T1" fmla="*/ 0 h 125"/>
                <a:gd name="T2" fmla="*/ 0 w 265"/>
                <a:gd name="T3" fmla="*/ 48 h 125"/>
                <a:gd name="T4" fmla="*/ 133 w 265"/>
                <a:gd name="T5" fmla="*/ 125 h 125"/>
                <a:gd name="T6" fmla="*/ 265 w 265"/>
                <a:gd name="T7" fmla="*/ 48 h 125"/>
                <a:gd name="T8" fmla="*/ 265 w 265"/>
                <a:gd name="T9" fmla="*/ 0 h 125"/>
                <a:gd name="T10" fmla="*/ 0 w 265"/>
                <a:gd name="T11" fmla="*/ 0 h 125"/>
              </a:gdLst>
              <a:ahLst/>
              <a:cxnLst>
                <a:cxn ang="0">
                  <a:pos x="T0" y="T1"/>
                </a:cxn>
                <a:cxn ang="0">
                  <a:pos x="T2" y="T3"/>
                </a:cxn>
                <a:cxn ang="0">
                  <a:pos x="T4" y="T5"/>
                </a:cxn>
                <a:cxn ang="0">
                  <a:pos x="T6" y="T7"/>
                </a:cxn>
                <a:cxn ang="0">
                  <a:pos x="T8" y="T9"/>
                </a:cxn>
                <a:cxn ang="0">
                  <a:pos x="T10" y="T11"/>
                </a:cxn>
              </a:cxnLst>
              <a:rect l="0" t="0" r="r" b="b"/>
              <a:pathLst>
                <a:path w="265" h="125">
                  <a:moveTo>
                    <a:pt x="0" y="0"/>
                  </a:moveTo>
                  <a:lnTo>
                    <a:pt x="0" y="48"/>
                  </a:lnTo>
                  <a:lnTo>
                    <a:pt x="133" y="125"/>
                  </a:lnTo>
                  <a:lnTo>
                    <a:pt x="265" y="48"/>
                  </a:lnTo>
                  <a:lnTo>
                    <a:pt x="265" y="0"/>
                  </a:lnTo>
                  <a:lnTo>
                    <a:pt x="0" y="0"/>
                  </a:lnTo>
                  <a:close/>
                </a:path>
              </a:pathLst>
            </a:custGeom>
            <a:solidFill>
              <a:srgbClr val="005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6">
              <a:extLst>
                <a:ext uri="{FF2B5EF4-FFF2-40B4-BE49-F238E27FC236}">
                  <a16:creationId xmlns:a16="http://schemas.microsoft.com/office/drawing/2014/main" id="{D781C14F-612A-40C1-BFA6-AD59A57769F5}"/>
                </a:ext>
              </a:extLst>
            </p:cNvPr>
            <p:cNvSpPr>
              <a:spLocks/>
            </p:cNvSpPr>
            <p:nvPr/>
          </p:nvSpPr>
          <p:spPr bwMode="auto">
            <a:xfrm>
              <a:off x="2070" y="2792"/>
              <a:ext cx="132" cy="125"/>
            </a:xfrm>
            <a:custGeom>
              <a:avLst/>
              <a:gdLst>
                <a:gd name="T0" fmla="*/ 0 w 132"/>
                <a:gd name="T1" fmla="*/ 0 h 125"/>
                <a:gd name="T2" fmla="*/ 0 w 132"/>
                <a:gd name="T3" fmla="*/ 125 h 125"/>
                <a:gd name="T4" fmla="*/ 132 w 132"/>
                <a:gd name="T5" fmla="*/ 48 h 125"/>
                <a:gd name="T6" fmla="*/ 132 w 132"/>
                <a:gd name="T7" fmla="*/ 0 h 125"/>
                <a:gd name="T8" fmla="*/ 0 w 132"/>
                <a:gd name="T9" fmla="*/ 0 h 125"/>
              </a:gdLst>
              <a:ahLst/>
              <a:cxnLst>
                <a:cxn ang="0">
                  <a:pos x="T0" y="T1"/>
                </a:cxn>
                <a:cxn ang="0">
                  <a:pos x="T2" y="T3"/>
                </a:cxn>
                <a:cxn ang="0">
                  <a:pos x="T4" y="T5"/>
                </a:cxn>
                <a:cxn ang="0">
                  <a:pos x="T6" y="T7"/>
                </a:cxn>
                <a:cxn ang="0">
                  <a:pos x="T8" y="T9"/>
                </a:cxn>
              </a:cxnLst>
              <a:rect l="0" t="0" r="r" b="b"/>
              <a:pathLst>
                <a:path w="132" h="125">
                  <a:moveTo>
                    <a:pt x="0" y="0"/>
                  </a:moveTo>
                  <a:lnTo>
                    <a:pt x="0" y="125"/>
                  </a:lnTo>
                  <a:lnTo>
                    <a:pt x="132" y="48"/>
                  </a:lnTo>
                  <a:lnTo>
                    <a:pt x="132" y="0"/>
                  </a:lnTo>
                  <a:lnTo>
                    <a:pt x="0" y="0"/>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 name="Freeform 7">
              <a:extLst>
                <a:ext uri="{FF2B5EF4-FFF2-40B4-BE49-F238E27FC236}">
                  <a16:creationId xmlns:a16="http://schemas.microsoft.com/office/drawing/2014/main" id="{C0FA76D7-1F5D-48B5-83E3-597BF26475E5}"/>
                </a:ext>
              </a:extLst>
            </p:cNvPr>
            <p:cNvSpPr>
              <a:spLocks/>
            </p:cNvSpPr>
            <p:nvPr/>
          </p:nvSpPr>
          <p:spPr bwMode="auto">
            <a:xfrm>
              <a:off x="1937" y="2717"/>
              <a:ext cx="265" cy="151"/>
            </a:xfrm>
            <a:custGeom>
              <a:avLst/>
              <a:gdLst>
                <a:gd name="T0" fmla="*/ 0 w 265"/>
                <a:gd name="T1" fmla="*/ 75 h 151"/>
                <a:gd name="T2" fmla="*/ 133 w 265"/>
                <a:gd name="T3" fmla="*/ 151 h 151"/>
                <a:gd name="T4" fmla="*/ 265 w 265"/>
                <a:gd name="T5" fmla="*/ 75 h 151"/>
                <a:gd name="T6" fmla="*/ 133 w 265"/>
                <a:gd name="T7" fmla="*/ 0 h 151"/>
                <a:gd name="T8" fmla="*/ 0 w 265"/>
                <a:gd name="T9" fmla="*/ 75 h 151"/>
              </a:gdLst>
              <a:ahLst/>
              <a:cxnLst>
                <a:cxn ang="0">
                  <a:pos x="T0" y="T1"/>
                </a:cxn>
                <a:cxn ang="0">
                  <a:pos x="T2" y="T3"/>
                </a:cxn>
                <a:cxn ang="0">
                  <a:pos x="T4" y="T5"/>
                </a:cxn>
                <a:cxn ang="0">
                  <a:pos x="T6" y="T7"/>
                </a:cxn>
                <a:cxn ang="0">
                  <a:pos x="T8" y="T9"/>
                </a:cxn>
              </a:cxnLst>
              <a:rect l="0" t="0" r="r" b="b"/>
              <a:pathLst>
                <a:path w="265" h="151">
                  <a:moveTo>
                    <a:pt x="0" y="75"/>
                  </a:moveTo>
                  <a:lnTo>
                    <a:pt x="133" y="151"/>
                  </a:lnTo>
                  <a:lnTo>
                    <a:pt x="265" y="75"/>
                  </a:lnTo>
                  <a:lnTo>
                    <a:pt x="133" y="0"/>
                  </a:lnTo>
                  <a:lnTo>
                    <a:pt x="0" y="7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 name="Freeform 8">
              <a:extLst>
                <a:ext uri="{FF2B5EF4-FFF2-40B4-BE49-F238E27FC236}">
                  <a16:creationId xmlns:a16="http://schemas.microsoft.com/office/drawing/2014/main" id="{C0843F5A-959B-451F-85BA-07A3675F5ADB}"/>
                </a:ext>
              </a:extLst>
            </p:cNvPr>
            <p:cNvSpPr>
              <a:spLocks/>
            </p:cNvSpPr>
            <p:nvPr/>
          </p:nvSpPr>
          <p:spPr bwMode="auto">
            <a:xfrm>
              <a:off x="1937" y="2692"/>
              <a:ext cx="265" cy="125"/>
            </a:xfrm>
            <a:custGeom>
              <a:avLst/>
              <a:gdLst>
                <a:gd name="T0" fmla="*/ 0 w 265"/>
                <a:gd name="T1" fmla="*/ 0 h 125"/>
                <a:gd name="T2" fmla="*/ 0 w 265"/>
                <a:gd name="T3" fmla="*/ 50 h 125"/>
                <a:gd name="T4" fmla="*/ 133 w 265"/>
                <a:gd name="T5" fmla="*/ 125 h 125"/>
                <a:gd name="T6" fmla="*/ 265 w 265"/>
                <a:gd name="T7" fmla="*/ 50 h 125"/>
                <a:gd name="T8" fmla="*/ 265 w 265"/>
                <a:gd name="T9" fmla="*/ 0 h 125"/>
                <a:gd name="T10" fmla="*/ 0 w 265"/>
                <a:gd name="T11" fmla="*/ 0 h 125"/>
              </a:gdLst>
              <a:ahLst/>
              <a:cxnLst>
                <a:cxn ang="0">
                  <a:pos x="T0" y="T1"/>
                </a:cxn>
                <a:cxn ang="0">
                  <a:pos x="T2" y="T3"/>
                </a:cxn>
                <a:cxn ang="0">
                  <a:pos x="T4" y="T5"/>
                </a:cxn>
                <a:cxn ang="0">
                  <a:pos x="T6" y="T7"/>
                </a:cxn>
                <a:cxn ang="0">
                  <a:pos x="T8" y="T9"/>
                </a:cxn>
                <a:cxn ang="0">
                  <a:pos x="T10" y="T11"/>
                </a:cxn>
              </a:cxnLst>
              <a:rect l="0" t="0" r="r" b="b"/>
              <a:pathLst>
                <a:path w="265" h="125">
                  <a:moveTo>
                    <a:pt x="0" y="0"/>
                  </a:moveTo>
                  <a:lnTo>
                    <a:pt x="0" y="50"/>
                  </a:lnTo>
                  <a:lnTo>
                    <a:pt x="133" y="125"/>
                  </a:lnTo>
                  <a:lnTo>
                    <a:pt x="265" y="50"/>
                  </a:lnTo>
                  <a:lnTo>
                    <a:pt x="265" y="0"/>
                  </a:lnTo>
                  <a:lnTo>
                    <a:pt x="0" y="0"/>
                  </a:lnTo>
                  <a:close/>
                </a:path>
              </a:pathLst>
            </a:custGeom>
            <a:solidFill>
              <a:srgbClr val="003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Freeform 9">
              <a:extLst>
                <a:ext uri="{FF2B5EF4-FFF2-40B4-BE49-F238E27FC236}">
                  <a16:creationId xmlns:a16="http://schemas.microsoft.com/office/drawing/2014/main" id="{E192A11C-99A7-4944-92A7-F60286580FC2}"/>
                </a:ext>
              </a:extLst>
            </p:cNvPr>
            <p:cNvSpPr>
              <a:spLocks/>
            </p:cNvSpPr>
            <p:nvPr/>
          </p:nvSpPr>
          <p:spPr bwMode="auto">
            <a:xfrm>
              <a:off x="2070" y="2692"/>
              <a:ext cx="132" cy="125"/>
            </a:xfrm>
            <a:custGeom>
              <a:avLst/>
              <a:gdLst>
                <a:gd name="T0" fmla="*/ 0 w 132"/>
                <a:gd name="T1" fmla="*/ 0 h 125"/>
                <a:gd name="T2" fmla="*/ 0 w 132"/>
                <a:gd name="T3" fmla="*/ 125 h 125"/>
                <a:gd name="T4" fmla="*/ 132 w 132"/>
                <a:gd name="T5" fmla="*/ 50 h 125"/>
                <a:gd name="T6" fmla="*/ 132 w 132"/>
                <a:gd name="T7" fmla="*/ 0 h 125"/>
                <a:gd name="T8" fmla="*/ 0 w 132"/>
                <a:gd name="T9" fmla="*/ 0 h 125"/>
              </a:gdLst>
              <a:ahLst/>
              <a:cxnLst>
                <a:cxn ang="0">
                  <a:pos x="T0" y="T1"/>
                </a:cxn>
                <a:cxn ang="0">
                  <a:pos x="T2" y="T3"/>
                </a:cxn>
                <a:cxn ang="0">
                  <a:pos x="T4" y="T5"/>
                </a:cxn>
                <a:cxn ang="0">
                  <a:pos x="T6" y="T7"/>
                </a:cxn>
                <a:cxn ang="0">
                  <a:pos x="T8" y="T9"/>
                </a:cxn>
              </a:cxnLst>
              <a:rect l="0" t="0" r="r" b="b"/>
              <a:pathLst>
                <a:path w="132" h="125">
                  <a:moveTo>
                    <a:pt x="0" y="0"/>
                  </a:moveTo>
                  <a:lnTo>
                    <a:pt x="0" y="125"/>
                  </a:lnTo>
                  <a:lnTo>
                    <a:pt x="132" y="50"/>
                  </a:lnTo>
                  <a:lnTo>
                    <a:pt x="132" y="0"/>
                  </a:lnTo>
                  <a:lnTo>
                    <a:pt x="0" y="0"/>
                  </a:lnTo>
                  <a:close/>
                </a:path>
              </a:pathLst>
            </a:custGeom>
            <a:solidFill>
              <a:srgbClr val="005A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Freeform 10">
              <a:extLst>
                <a:ext uri="{FF2B5EF4-FFF2-40B4-BE49-F238E27FC236}">
                  <a16:creationId xmlns:a16="http://schemas.microsoft.com/office/drawing/2014/main" id="{E0F0924A-74AD-435F-8FC1-F4D7BC56D92E}"/>
                </a:ext>
              </a:extLst>
            </p:cNvPr>
            <p:cNvSpPr>
              <a:spLocks/>
            </p:cNvSpPr>
            <p:nvPr/>
          </p:nvSpPr>
          <p:spPr bwMode="auto">
            <a:xfrm>
              <a:off x="1937" y="2617"/>
              <a:ext cx="265" cy="151"/>
            </a:xfrm>
            <a:custGeom>
              <a:avLst/>
              <a:gdLst>
                <a:gd name="T0" fmla="*/ 0 w 265"/>
                <a:gd name="T1" fmla="*/ 75 h 151"/>
                <a:gd name="T2" fmla="*/ 133 w 265"/>
                <a:gd name="T3" fmla="*/ 151 h 151"/>
                <a:gd name="T4" fmla="*/ 265 w 265"/>
                <a:gd name="T5" fmla="*/ 75 h 151"/>
                <a:gd name="T6" fmla="*/ 133 w 265"/>
                <a:gd name="T7" fmla="*/ 0 h 151"/>
                <a:gd name="T8" fmla="*/ 0 w 265"/>
                <a:gd name="T9" fmla="*/ 75 h 151"/>
              </a:gdLst>
              <a:ahLst/>
              <a:cxnLst>
                <a:cxn ang="0">
                  <a:pos x="T0" y="T1"/>
                </a:cxn>
                <a:cxn ang="0">
                  <a:pos x="T2" y="T3"/>
                </a:cxn>
                <a:cxn ang="0">
                  <a:pos x="T4" y="T5"/>
                </a:cxn>
                <a:cxn ang="0">
                  <a:pos x="T6" y="T7"/>
                </a:cxn>
                <a:cxn ang="0">
                  <a:pos x="T8" y="T9"/>
                </a:cxn>
              </a:cxnLst>
              <a:rect l="0" t="0" r="r" b="b"/>
              <a:pathLst>
                <a:path w="265" h="151">
                  <a:moveTo>
                    <a:pt x="0" y="75"/>
                  </a:moveTo>
                  <a:lnTo>
                    <a:pt x="133" y="151"/>
                  </a:lnTo>
                  <a:lnTo>
                    <a:pt x="265" y="75"/>
                  </a:lnTo>
                  <a:lnTo>
                    <a:pt x="133" y="0"/>
                  </a:lnTo>
                  <a:lnTo>
                    <a:pt x="0" y="7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8" name="Straight Arrow Connector 17">
            <a:extLst>
              <a:ext uri="{FF2B5EF4-FFF2-40B4-BE49-F238E27FC236}">
                <a16:creationId xmlns:a16="http://schemas.microsoft.com/office/drawing/2014/main" id="{E9A68938-CAE8-4347-A06A-49B702C3D454}"/>
              </a:ext>
            </a:extLst>
          </p:cNvPr>
          <p:cNvCxnSpPr>
            <a:cxnSpLocks/>
          </p:cNvCxnSpPr>
          <p:nvPr/>
        </p:nvCxnSpPr>
        <p:spPr>
          <a:xfrm>
            <a:off x="4340672" y="4591858"/>
            <a:ext cx="0" cy="465579"/>
          </a:xfrm>
          <a:prstGeom prst="straightConnector1">
            <a:avLst/>
          </a:prstGeom>
          <a:ln w="19050">
            <a:solidFill>
              <a:srgbClr val="0078D7"/>
            </a:solidFill>
            <a:prstDash val="solid"/>
            <a:headEnd type="none" w="lg" len="me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108124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ELT vs ETL</a:t>
            </a:r>
          </a:p>
        </p:txBody>
      </p:sp>
      <p:graphicFrame>
        <p:nvGraphicFramePr>
          <p:cNvPr id="8" name="Content Placeholder 7">
            <a:extLst>
              <a:ext uri="{FF2B5EF4-FFF2-40B4-BE49-F238E27FC236}">
                <a16:creationId xmlns:a16="http://schemas.microsoft.com/office/drawing/2014/main" id="{F2F3C940-AD7F-4BDC-B54E-5C35FE27C4CC}"/>
              </a:ext>
            </a:extLst>
          </p:cNvPr>
          <p:cNvGraphicFramePr>
            <a:graphicFrameLocks noGrp="1"/>
          </p:cNvGraphicFramePr>
          <p:nvPr>
            <p:ph sz="quarter" idx="13"/>
            <p:extLst>
              <p:ext uri="{D42A27DB-BD31-4B8C-83A1-F6EECF244321}">
                <p14:modId xmlns:p14="http://schemas.microsoft.com/office/powerpoint/2010/main" val="2142631576"/>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B4D13A24-0789-3838-C52F-F491562E8AF8}"/>
              </a:ext>
            </a:extLst>
          </p:cNvPr>
          <p:cNvSpPr txBox="1"/>
          <p:nvPr/>
        </p:nvSpPr>
        <p:spPr>
          <a:xfrm>
            <a:off x="1682496" y="1889760"/>
            <a:ext cx="4194048"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Modern Data Warehouse</a:t>
            </a:r>
          </a:p>
        </p:txBody>
      </p:sp>
      <p:sp>
        <p:nvSpPr>
          <p:cNvPr id="4" name="TextBox 3">
            <a:extLst>
              <a:ext uri="{FF2B5EF4-FFF2-40B4-BE49-F238E27FC236}">
                <a16:creationId xmlns:a16="http://schemas.microsoft.com/office/drawing/2014/main" id="{53206967-215A-6721-E6AA-C8CB6C5ACC75}"/>
              </a:ext>
            </a:extLst>
          </p:cNvPr>
          <p:cNvSpPr txBox="1"/>
          <p:nvPr/>
        </p:nvSpPr>
        <p:spPr>
          <a:xfrm>
            <a:off x="7342314" y="1897344"/>
            <a:ext cx="4194048"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Traditional Data Warehouse</a:t>
            </a:r>
          </a:p>
        </p:txBody>
      </p:sp>
    </p:spTree>
    <p:extLst>
      <p:ext uri="{BB962C8B-B14F-4D97-AF65-F5344CB8AC3E}">
        <p14:creationId xmlns:p14="http://schemas.microsoft.com/office/powerpoint/2010/main" val="34885005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ELT – Extract, Load and Transform</a:t>
            </a:r>
          </a:p>
        </p:txBody>
      </p:sp>
      <p:graphicFrame>
        <p:nvGraphicFramePr>
          <p:cNvPr id="8" name="Content Placeholder 7">
            <a:extLst>
              <a:ext uri="{FF2B5EF4-FFF2-40B4-BE49-F238E27FC236}">
                <a16:creationId xmlns:a16="http://schemas.microsoft.com/office/drawing/2014/main" id="{F2F3C940-AD7F-4BDC-B54E-5C35FE27C4CC}"/>
              </a:ext>
            </a:extLst>
          </p:cNvPr>
          <p:cNvGraphicFramePr>
            <a:graphicFrameLocks noGrp="1"/>
          </p:cNvGraphicFramePr>
          <p:nvPr>
            <p:ph sz="quarter" idx="13"/>
            <p:extLst>
              <p:ext uri="{D42A27DB-BD31-4B8C-83A1-F6EECF244321}">
                <p14:modId xmlns:p14="http://schemas.microsoft.com/office/powerpoint/2010/main" val="2275975618"/>
              </p:ext>
            </p:extLst>
          </p:nvPr>
        </p:nvGraphicFramePr>
        <p:xfrm>
          <a:off x="655638" y="1408113"/>
          <a:ext cx="5092019"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050" name="Picture 2" descr="Diagram of the enterprise BI pipeline">
            <a:extLst>
              <a:ext uri="{FF2B5EF4-FFF2-40B4-BE49-F238E27FC236}">
                <a16:creationId xmlns:a16="http://schemas.microsoft.com/office/drawing/2014/main" id="{575ED0DA-C2C3-46F7-82E8-8F46DCE736F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69804" y="1068699"/>
            <a:ext cx="6091185" cy="255558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Architecture diagram for automated enterprise BI with Azure Synapse and Azure Data Factory">
            <a:extLst>
              <a:ext uri="{FF2B5EF4-FFF2-40B4-BE49-F238E27FC236}">
                <a16:creationId xmlns:a16="http://schemas.microsoft.com/office/drawing/2014/main" id="{E82A1B76-4007-4E95-A0DE-EFC77F68C61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69804" y="3911277"/>
            <a:ext cx="6091185" cy="26266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5987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3000"/>
                                  </p:stCondLst>
                                  <p:childTnLst>
                                    <p:set>
                                      <p:cBhvr>
                                        <p:cTn id="6" dur="1" fill="hold">
                                          <p:stCondLst>
                                            <p:cond delay="0"/>
                                          </p:stCondLst>
                                        </p:cTn>
                                        <p:tgtEl>
                                          <p:spTgt spid="205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ELT – Extract, Load and Transform</a:t>
            </a:r>
          </a:p>
        </p:txBody>
      </p:sp>
      <p:graphicFrame>
        <p:nvGraphicFramePr>
          <p:cNvPr id="8" name="Content Placeholder 7">
            <a:extLst>
              <a:ext uri="{FF2B5EF4-FFF2-40B4-BE49-F238E27FC236}">
                <a16:creationId xmlns:a16="http://schemas.microsoft.com/office/drawing/2014/main" id="{F2F3C940-AD7F-4BDC-B54E-5C35FE27C4CC}"/>
              </a:ext>
            </a:extLst>
          </p:cNvPr>
          <p:cNvGraphicFramePr>
            <a:graphicFrameLocks noGrp="1"/>
          </p:cNvGraphicFramePr>
          <p:nvPr>
            <p:ph sz="quarter" idx="13"/>
            <p:extLst>
              <p:ext uri="{D42A27DB-BD31-4B8C-83A1-F6EECF244321}">
                <p14:modId xmlns:p14="http://schemas.microsoft.com/office/powerpoint/2010/main" val="3884559651"/>
              </p:ext>
            </p:extLst>
          </p:nvPr>
        </p:nvGraphicFramePr>
        <p:xfrm>
          <a:off x="655638" y="2350873"/>
          <a:ext cx="10880725" cy="21562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342315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lt;/Name&gt;&lt;FirstSlideIndex&gt;3&lt;/FirstSlideIndex&gt;&lt;SlidesCount&gt;8&lt;/SlidesCount&gt;&lt;SlideGuids&gt;&lt;guid&gt;af7d8e52-4972-45ba-8569-a3766e0e7e1f&lt;/guid&gt;&lt;guid&gt;5f31ce95-1040-41c6-ba78-10a9b2ed9970&lt;/guid&gt;&lt;guid&gt;3ccd3973-1ec5-46fa-8710-ff514ce2a1f3&lt;/guid&gt;&lt;guid&gt;f412d8f2-7d2e-48c9-b4ca-bb6b11824760&lt;/guid&gt;&lt;guid&gt;2cc5ab1a-c91d-466d-bfef-8fb23e8e4a12&lt;/guid&gt;&lt;guid&gt;ccca499f-6031-4249-9be5-05f0778e93f9&lt;/guid&gt;&lt;guid&gt;c328151a-ce6b-47fd-89fa-845a0dd837d1&lt;/guid&gt;&lt;guid&gt;b5e06058-c39f-48cf-8ba4-c1a5f9f101ce&lt;/guid&gt;&lt;/SlideGuids&gt;&lt;/NativeSection&gt;&lt;NativeSection&gt;&lt;Name&gt;Virtual Introduction&lt;/Name&gt;&lt;FirstSlideIndex&gt;11&lt;/FirstSlideIndex&gt;&lt;SlidesCount&gt;10&lt;/SlidesCount&gt;&lt;SlideGuids&gt;&lt;guid&gt;b32f4005-11ee-4571-9771-859f63e08f74&lt;/guid&gt;&lt;guid&gt;1d0138ab-c9d0-4ed5-8dd2-88379672ce17&lt;/guid&gt;&lt;guid&gt;66aa6373-16a3-4991-89f2-566a2e97143a&lt;/guid&gt;&lt;guid&gt;e320cb71-3b73-4729-84f4-fd02963afdc5&lt;/guid&gt;&lt;guid&gt;2f8245e8-e231-4447-82d8-d97597d20484&lt;/guid&gt;&lt;guid&gt;fc031707-9e97-4ccc-ae34-c0753b7f2591&lt;/guid&gt;&lt;guid&gt;d67d861a-7109-424f-8337-d603a38d76f4&lt;/guid&gt;&lt;guid&gt;e85356c6-ef03-4ff9-8bf8-9b6a00b74c41&lt;/guid&gt;&lt;guid&gt;9ebde364-126f-4efc-bd5c-42053664fe49&lt;/guid&gt;&lt;guid&gt;337401ad-e0b9-4aa7-afee-b90aede246be&lt;/guid&gt;&lt;/SlideGuids&gt;&lt;/NativeSection&gt;&lt;/ArrayOfNativeSection&gt;"/>
  <p:tag name="MIO_EKGUID" val="b69cf4f4-f545-497c-bb98-ebb41290c03b"/>
  <p:tag name="MIO_UPDATE" val="True"/>
  <p:tag name="MIO_VERSION" val="02.12.2019 14:58:12"/>
  <p:tag name="MIO_DBID" val="12B0C59E-2253-4124-A5E9-470ADF4CB168"/>
  <p:tag name="MIO_LASTDOWNLOADED" val="23.01.2020 21:39:46"/>
  <p:tag name="MIO_OBJECTNAME" val="M00 Introduction"/>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11.xml><?xml version="1.0" encoding="utf-8"?>
<p:tagLst xmlns:a="http://schemas.openxmlformats.org/drawingml/2006/main" xmlns:r="http://schemas.openxmlformats.org/officeDocument/2006/relationships" xmlns:p="http://schemas.openxmlformats.org/presentationml/2006/main">
  <p:tag name="MIO_GUID" val="feb9e746-1cf6-44ec-818b-97c8219395df"/>
  <p:tag name="MIO_EKGUID" val="eececc6f-ec1c-45f1-8758-6e452d38ddc5"/>
  <p:tag name="MIO_UPDATE" val="True"/>
  <p:tag name="MIO_VERSION" val="02.12.2019 14:58:10"/>
  <p:tag name="MIO_DBID" val="12b0c59e-2253-4124-a5e9-470adf4cb168"/>
  <p:tag name="MIO_LASTDOWNLOADED" val="24.01.2020 05:39:39"/>
  <p:tag name="MIO_OBJECTNAME" val="WorkshopPLUS - Windows PowerShell: Foundation Skills"/>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EKGUID" val="eee481a8-d069-42c0-bbbf-c67080f0abbf"/>
  <p:tag name="MIO_GUID" val="a2d583d4-af09-4112-a730-c6147e1bd0c1"/>
  <p:tag name="MIO_UPDATE" val="True"/>
  <p:tag name="MIO_DBID" val="12B0C59E-2253-4124-A5E9-470ADF4CB168"/>
  <p:tag name="MIO_LASTDOWNLOADED" val="08.11.2019 12:17:16"/>
  <p:tag name="MIO_OBJECTNAME" val="Ofc17_Amelia_006"/>
  <p:tag name="MIO_LASTEDITORNAME" val="Rachael Jones"/>
</p:tagLst>
</file>

<file path=ppt/tags/tag1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2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0.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b66b6bb9-0c3b-4baf-b7e0-24038b18f231">
      <UserInfo>
        <DisplayName>DW PFE Ramp-up Members</DisplayName>
        <AccountId>7</AccountId>
        <AccountType/>
      </UserInfo>
    </SharedWithUsers>
    <lcf76f155ced4ddcb4097134ff3c332f xmlns="6cd3d847-4521-4863-8800-2cff076dfc18">
      <Terms xmlns="http://schemas.microsoft.com/office/infopath/2007/PartnerControls"/>
    </lcf76f155ced4ddcb4097134ff3c332f>
    <TaxCatchAll xmlns="230e9df3-be65-4c73-a93b-d1236ebd677e" xsi:nil="true"/>
  </documentManagement>
</p:properties>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5.xml><?xml version="1.0" encoding="utf-8"?>
<?mso-contentType ?>
<FormTemplates xmlns="http://schemas.microsoft.com/sharepoint/v3/contenttype/forms">
  <Display>DocumentLibraryForm</Display>
  <Edit>DocumentLibraryForm</Edit>
  <New>DocumentLibraryForm</New>
</FormTemplates>
</file>

<file path=customXml/item16.xml><?xml version="1.0" encoding="utf-8"?>
<ct:contentTypeSchema xmlns:ct="http://schemas.microsoft.com/office/2006/metadata/contentType" xmlns:ma="http://schemas.microsoft.com/office/2006/metadata/properties/metaAttributes" ct:_="" ma:_="" ma:contentTypeName="Document" ma:contentTypeID="0x010100DA158CAB76EB234EA787464046C58889" ma:contentTypeVersion="17" ma:contentTypeDescription="Create a new document." ma:contentTypeScope="" ma:versionID="fa998b4b2c381a9bc1bda5cedc60fbcb">
  <xsd:schema xmlns:xsd="http://www.w3.org/2001/XMLSchema" xmlns:xs="http://www.w3.org/2001/XMLSchema" xmlns:p="http://schemas.microsoft.com/office/2006/metadata/properties" xmlns:ns1="http://schemas.microsoft.com/sharepoint/v3" xmlns:ns2="6cd3d847-4521-4863-8800-2cff076dfc18" xmlns:ns3="b66b6bb9-0c3b-4baf-b7e0-24038b18f231" xmlns:ns4="230e9df3-be65-4c73-a93b-d1236ebd677e" targetNamespace="http://schemas.microsoft.com/office/2006/metadata/properties" ma:root="true" ma:fieldsID="39261f3d9fde56f610fe49ef8f87ebd7" ns1:_="" ns2:_="" ns3:_="" ns4:_="">
    <xsd:import namespace="http://schemas.microsoft.com/sharepoint/v3"/>
    <xsd:import namespace="6cd3d847-4521-4863-8800-2cff076dfc18"/>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d3d847-4521-4863-8800-2cff076dfc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7.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D90DEB8C-C00E-4B1C-B45B-737A9292CE09}">
  <ds:schemaRefs>
    <ds:schemaRef ds:uri="Strauss.PersonalizationDefinition"/>
  </ds:schemaRefs>
</ds:datastoreItem>
</file>

<file path=customXml/itemProps10.xml><?xml version="1.0" encoding="utf-8"?>
<ds:datastoreItem xmlns:ds="http://schemas.openxmlformats.org/officeDocument/2006/customXml" ds:itemID="{C412598E-BF43-4F55-B1FB-DC8EF944E888}">
  <ds:schemaRefs>
    <ds:schemaRef ds:uri="http://purl.org/dc/elements/1.1/"/>
    <ds:schemaRef ds:uri="http://schemas.openxmlformats.org/package/2006/metadata/core-properties"/>
    <ds:schemaRef ds:uri="6cd3d847-4521-4863-8800-2cff076dfc18"/>
    <ds:schemaRef ds:uri="http://purl.org/dc/dcmitype/"/>
    <ds:schemaRef ds:uri="http://schemas.microsoft.com/office/2006/metadata/properties"/>
    <ds:schemaRef ds:uri="http://schemas.microsoft.com/office/2006/documentManagement/types"/>
    <ds:schemaRef ds:uri="http://schemas.microsoft.com/office/infopath/2007/PartnerControls"/>
    <ds:schemaRef ds:uri="b66b6bb9-0c3b-4baf-b7e0-24038b18f231"/>
    <ds:schemaRef ds:uri="http://schemas.microsoft.com/sharepoint/v3"/>
    <ds:schemaRef ds:uri="http://www.w3.org/XML/1998/namespace"/>
    <ds:schemaRef ds:uri="http://purl.org/dc/terms/"/>
    <ds:schemaRef ds:uri="230e9df3-be65-4c73-a93b-d1236ebd677e"/>
  </ds:schemaRefs>
</ds:datastoreItem>
</file>

<file path=customXml/itemProps11.xml><?xml version="1.0" encoding="utf-8"?>
<ds:datastoreItem xmlns:ds="http://schemas.openxmlformats.org/officeDocument/2006/customXml" ds:itemID="{14CA8128-2005-44FE-9899-945704087947}">
  <ds:schemaRefs>
    <ds:schemaRef ds:uri="Strauss.PersonalizationDefinition"/>
  </ds:schemaRefs>
</ds:datastoreItem>
</file>

<file path=customXml/itemProps12.xml><?xml version="1.0" encoding="utf-8"?>
<ds:datastoreItem xmlns:ds="http://schemas.openxmlformats.org/officeDocument/2006/customXml" ds:itemID="{772CAEB3-F6A6-459B-BBBC-D05E94E0B7A0}">
  <ds:schemaRefs>
    <ds:schemaRef ds:uri="Strauss.PersonalizationDefinition"/>
  </ds:schemaRefs>
</ds:datastoreItem>
</file>

<file path=customXml/itemProps13.xml><?xml version="1.0" encoding="utf-8"?>
<ds:datastoreItem xmlns:ds="http://schemas.openxmlformats.org/officeDocument/2006/customXml" ds:itemID="{B8771E8B-20B3-470C-9F0F-9C4772186AD7}">
  <ds:schemaRefs>
    <ds:schemaRef ds:uri="Strauss.PersonalizationDefinition"/>
  </ds:schemaRefs>
</ds:datastoreItem>
</file>

<file path=customXml/itemProps14.xml><?xml version="1.0" encoding="utf-8"?>
<ds:datastoreItem xmlns:ds="http://schemas.openxmlformats.org/officeDocument/2006/customXml" ds:itemID="{DF333A1B-0A9C-4DA8-ADAB-4378B69FDC48}">
  <ds:schemaRefs>
    <ds:schemaRef ds:uri="Strauss.PersonalizationDefinition"/>
  </ds:schemaRefs>
</ds:datastoreItem>
</file>

<file path=customXml/itemProps15.xml><?xml version="1.0" encoding="utf-8"?>
<ds:datastoreItem xmlns:ds="http://schemas.openxmlformats.org/officeDocument/2006/customXml" ds:itemID="{7D506C23-AA6D-4921-8107-27C3A6154D37}">
  <ds:schemaRefs>
    <ds:schemaRef ds:uri="http://schemas.microsoft.com/sharepoint/v3/contenttype/forms"/>
  </ds:schemaRefs>
</ds:datastoreItem>
</file>

<file path=customXml/itemProps16.xml><?xml version="1.0" encoding="utf-8"?>
<ds:datastoreItem xmlns:ds="http://schemas.openxmlformats.org/officeDocument/2006/customXml" ds:itemID="{D21760D4-A450-420F-8336-64F27ACFF3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d3d847-4521-4863-8800-2cff076dfc18"/>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7.xml><?xml version="1.0" encoding="utf-8"?>
<ds:datastoreItem xmlns:ds="http://schemas.openxmlformats.org/officeDocument/2006/customXml" ds:itemID="{B2274A60-1BB2-4B7C-B837-1F17CDA5AFC5}">
  <ds:schemaRefs>
    <ds:schemaRef ds:uri="Strauss.PersonalizationDefinition"/>
  </ds:schemaRefs>
</ds:datastoreItem>
</file>

<file path=customXml/itemProps18.xml><?xml version="1.0" encoding="utf-8"?>
<ds:datastoreItem xmlns:ds="http://schemas.openxmlformats.org/officeDocument/2006/customXml" ds:itemID="{6F485757-9F3C-4A1E-9E86-E1C1551910BA}">
  <ds:schemaRefs>
    <ds:schemaRef ds:uri="Strauss.PersonalizationDefinition"/>
  </ds:schemaRefs>
</ds:datastoreItem>
</file>

<file path=customXml/itemProps19.xml><?xml version="1.0" encoding="utf-8"?>
<ds:datastoreItem xmlns:ds="http://schemas.openxmlformats.org/officeDocument/2006/customXml" ds:itemID="{99B20A5E-DC29-4729-B76F-39D3EF9CA3C3}">
  <ds:schemaRefs>
    <ds:schemaRef ds:uri="Strauss.PersonalizationDefinition"/>
  </ds:schemaRefs>
</ds:datastoreItem>
</file>

<file path=customXml/itemProps2.xml><?xml version="1.0" encoding="utf-8"?>
<ds:datastoreItem xmlns:ds="http://schemas.openxmlformats.org/officeDocument/2006/customXml" ds:itemID="{6B2F7B94-2B12-4A65-964B-9372138E0DC1}">
  <ds:schemaRefs>
    <ds:schemaRef ds:uri="Strauss.PersonalizationDefinition"/>
  </ds:schemaRefs>
</ds:datastoreItem>
</file>

<file path=customXml/itemProps20.xml><?xml version="1.0" encoding="utf-8"?>
<ds:datastoreItem xmlns:ds="http://schemas.openxmlformats.org/officeDocument/2006/customXml" ds:itemID="{D959A07B-C49D-428D-B914-113B444FB5E7}">
  <ds:schemaRefs>
    <ds:schemaRef ds:uri="Strauss.PersonalizationDefinition"/>
  </ds:schemaRefs>
</ds:datastoreItem>
</file>

<file path=customXml/itemProps3.xml><?xml version="1.0" encoding="utf-8"?>
<ds:datastoreItem xmlns:ds="http://schemas.openxmlformats.org/officeDocument/2006/customXml" ds:itemID="{AF760E59-97AE-4538-B6A6-5DAE18A6CA97}">
  <ds:schemaRefs>
    <ds:schemaRef ds:uri="Strauss.PersonalizationDefinition"/>
  </ds:schemaRefs>
</ds:datastoreItem>
</file>

<file path=customXml/itemProps4.xml><?xml version="1.0" encoding="utf-8"?>
<ds:datastoreItem xmlns:ds="http://schemas.openxmlformats.org/officeDocument/2006/customXml" ds:itemID="{26FC3530-E2F9-4A8D-B376-658599B0530D}">
  <ds:schemaRefs>
    <ds:schemaRef ds:uri="Strauss.PersonalizationDefinition"/>
  </ds:schemaRefs>
</ds:datastoreItem>
</file>

<file path=customXml/itemProps5.xml><?xml version="1.0" encoding="utf-8"?>
<ds:datastoreItem xmlns:ds="http://schemas.openxmlformats.org/officeDocument/2006/customXml" ds:itemID="{C68DFDA4-9A7D-4A03-88F7-3F01D0044E37}">
  <ds:schemaRefs>
    <ds:schemaRef ds:uri="Strauss.PersonalizationDefinition"/>
  </ds:schemaRefs>
</ds:datastoreItem>
</file>

<file path=customXml/itemProps6.xml><?xml version="1.0" encoding="utf-8"?>
<ds:datastoreItem xmlns:ds="http://schemas.openxmlformats.org/officeDocument/2006/customXml" ds:itemID="{49A17B3E-0F3C-4D20-8AA2-291BC83AF6EE}">
  <ds:schemaRefs>
    <ds:schemaRef ds:uri="Strauss.PersonalizationDefinition"/>
  </ds:schemaRefs>
</ds:datastoreItem>
</file>

<file path=customXml/itemProps7.xml><?xml version="1.0" encoding="utf-8"?>
<ds:datastoreItem xmlns:ds="http://schemas.openxmlformats.org/officeDocument/2006/customXml" ds:itemID="{81A5550D-B138-4182-9A9D-4110A11BBE58}">
  <ds:schemaRefs>
    <ds:schemaRef ds:uri="Strauss.PersonalizationDefinition"/>
  </ds:schemaRefs>
</ds:datastoreItem>
</file>

<file path=customXml/itemProps8.xml><?xml version="1.0" encoding="utf-8"?>
<ds:datastoreItem xmlns:ds="http://schemas.openxmlformats.org/officeDocument/2006/customXml" ds:itemID="{B27A4084-7B5E-4717-AE87-F47CC077F1E0}">
  <ds:schemaRefs>
    <ds:schemaRef ds:uri="Strauss.PersonalizationDefinition"/>
  </ds:schemaRefs>
</ds:datastoreItem>
</file>

<file path=customXml/itemProps9.xml><?xml version="1.0" encoding="utf-8"?>
<ds:datastoreItem xmlns:ds="http://schemas.openxmlformats.org/officeDocument/2006/customXml" ds:itemID="{46FE92F6-2FBE-4E18-AD4C-BA9B12E1E9FC}">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110</TotalTime>
  <Words>5210</Words>
  <Application>Microsoft Office PowerPoint</Application>
  <PresentationFormat>Widescreen</PresentationFormat>
  <Paragraphs>369</Paragraphs>
  <Slides>28</Slides>
  <Notes>26</Notes>
  <HiddenSlides>1</HiddenSlides>
  <MMClips>0</MMClips>
  <ScaleCrop>false</ScaleCrop>
  <HeadingPairs>
    <vt:vector size="6" baseType="variant">
      <vt:variant>
        <vt:lpstr>Fonts Used</vt:lpstr>
      </vt:variant>
      <vt:variant>
        <vt:i4>11</vt:i4>
      </vt:variant>
      <vt:variant>
        <vt:lpstr>Theme</vt:lpstr>
      </vt:variant>
      <vt:variant>
        <vt:i4>3</vt:i4>
      </vt:variant>
      <vt:variant>
        <vt:lpstr>Slide Titles</vt:lpstr>
      </vt:variant>
      <vt:variant>
        <vt:i4>28</vt:i4>
      </vt:variant>
    </vt:vector>
  </HeadingPairs>
  <TitlesOfParts>
    <vt:vector size="42" baseType="lpstr">
      <vt:lpstr>NSimSun</vt:lpstr>
      <vt:lpstr>Arial</vt:lpstr>
      <vt:lpstr>Calibri</vt:lpstr>
      <vt:lpstr>Calibri Light</vt:lpstr>
      <vt:lpstr>Comic Sans MS</vt:lpstr>
      <vt:lpstr>Consolas</vt:lpstr>
      <vt:lpstr>Lucida Console</vt:lpstr>
      <vt:lpstr>Segoe UI</vt:lpstr>
      <vt:lpstr>Segoe UI Semibold</vt:lpstr>
      <vt:lpstr>Segoe UI Semilight</vt:lpstr>
      <vt:lpstr>Wingdings</vt:lpstr>
      <vt:lpstr>Dark Blue</vt:lpstr>
      <vt:lpstr>1_Dark Blue</vt:lpstr>
      <vt:lpstr>2_Dark Blue</vt:lpstr>
      <vt:lpstr>Optimize Azure Synapse SQL Pools</vt:lpstr>
      <vt:lpstr>Optimize Data Loading</vt:lpstr>
      <vt:lpstr>Learning Units covered in this Module</vt:lpstr>
      <vt:lpstr>Lesson 1: Loading Strategies</vt:lpstr>
      <vt:lpstr>Objectives</vt:lpstr>
      <vt:lpstr>Modern Data Warehousing Patterns</vt:lpstr>
      <vt:lpstr>ELT vs ETL</vt:lpstr>
      <vt:lpstr>ELT – Extract, Load and Transform</vt:lpstr>
      <vt:lpstr>ELT – Extract, Load and Transform</vt:lpstr>
      <vt:lpstr>ELT – Extract, Load and Transform</vt:lpstr>
      <vt:lpstr>ELT – Extract, Load and Transform</vt:lpstr>
      <vt:lpstr>ELT – Extract, Load and Transform</vt:lpstr>
      <vt:lpstr>ELT – Extract, Load and Transform</vt:lpstr>
      <vt:lpstr>ELT – Extract, Load and Transform</vt:lpstr>
      <vt:lpstr>Lesson 2: Best Loading Practices</vt:lpstr>
      <vt:lpstr>Objectives</vt:lpstr>
      <vt:lpstr>Best Practices</vt:lpstr>
      <vt:lpstr>Best Practices – Preparing Data</vt:lpstr>
      <vt:lpstr>Best Practices – Choosing Enough Compute </vt:lpstr>
      <vt:lpstr>Best Practices – PolyBase Multi-User</vt:lpstr>
      <vt:lpstr>ELT – Extract, Load and Transform</vt:lpstr>
      <vt:lpstr>Best Practices – CCI Load</vt:lpstr>
      <vt:lpstr>Best Practices – CCI Load</vt:lpstr>
      <vt:lpstr>Best Practices – Batch Sizes </vt:lpstr>
      <vt:lpstr>Best Practices – Insert into PROD Tables </vt:lpstr>
      <vt:lpstr>Best Practices – Using Statistics</vt:lpstr>
      <vt:lpstr>Knowledge Check – View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sclaimer</dc:title>
  <dc:creator>Filipe Moreira</dc:creator>
  <cp:lastModifiedBy>John Deardurff</cp:lastModifiedBy>
  <cp:revision>18</cp:revision>
  <dcterms:created xsi:type="dcterms:W3CDTF">2020-06-29T09:03:06Z</dcterms:created>
  <dcterms:modified xsi:type="dcterms:W3CDTF">2022-04-20T13:0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158CAB76EB234EA787464046C58889</vt:lpwstr>
  </property>
  <property fmtid="{D5CDD505-2E9C-101B-9397-08002B2CF9AE}" pid="3" name="MediaServiceImageTags">
    <vt:lpwstr/>
  </property>
</Properties>
</file>